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7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theme/theme8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theme/theme9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theme/theme10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theme/theme11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theme/theme12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theme/theme13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theme/theme1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theme/theme15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751" r:id="rId5"/>
    <p:sldMasterId id="2147483798" r:id="rId6"/>
    <p:sldMasterId id="2147483821" r:id="rId7"/>
    <p:sldMasterId id="2147483874" r:id="rId8"/>
    <p:sldMasterId id="2147483927" r:id="rId9"/>
    <p:sldMasterId id="2147483980" r:id="rId10"/>
    <p:sldMasterId id="2147484033" r:id="rId11"/>
    <p:sldMasterId id="2147484086" r:id="rId12"/>
    <p:sldMasterId id="2147484139" r:id="rId13"/>
    <p:sldMasterId id="2147484192" r:id="rId14"/>
    <p:sldMasterId id="2147484245" r:id="rId15"/>
    <p:sldMasterId id="2147484298" r:id="rId16"/>
    <p:sldMasterId id="2147484351" r:id="rId17"/>
    <p:sldMasterId id="2147484385" r:id="rId18"/>
  </p:sldMasterIdLst>
  <p:notesMasterIdLst>
    <p:notesMasterId r:id="rId20"/>
  </p:notesMasterIdLst>
  <p:handoutMasterIdLst>
    <p:handoutMasterId r:id="rId21"/>
  </p:handoutMasterIdLst>
  <p:sldIdLst>
    <p:sldId id="2134804566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DA838A2-EF25-4D54-AB52-2AE9744068A6}">
          <p14:sldIdLst>
            <p14:sldId id="2134804566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::denwelle1@publicisgroupe.net::08b00602-60fa-48c3-96fb-06a947b67cdf" providerId="AD"/>
      </p:ext>
    </p:extLst>
  </p:cmAuthor>
  <p:cmAuthor id="2" name="Valvodova, Tereza (RC-CZ CM BP)" initials="VT(CB" lastIdx="5" clrIdx="1">
    <p:extLst>
      <p:ext uri="{19B8F6BF-5375-455C-9EA6-DF929625EA0E}">
        <p15:presenceInfo xmlns:p15="http://schemas.microsoft.com/office/powerpoint/2012/main" userId="S::tereza.valvodova@siemens.com::03d92b44-408a-4bdc-bbe4-b74e6e04227d" providerId="AD"/>
      </p:ext>
    </p:extLst>
  </p:cmAuthor>
  <p:cmAuthor id="3" name="Tomaskova, Jaroslava (RC-CZ CM MC)" initials="TJ(CM" lastIdx="18" clrIdx="2">
    <p:extLst>
      <p:ext uri="{19B8F6BF-5375-455C-9EA6-DF929625EA0E}">
        <p15:presenceInfo xmlns:p15="http://schemas.microsoft.com/office/powerpoint/2012/main" userId="S::jaroslava.tomaskova@siemens.com::7f127cb5-8c15-4dc9-a9be-0ea9f9a0292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707080"/>
    <a:srgbClr val="FF9900"/>
    <a:srgbClr val="005063"/>
    <a:srgbClr val="0047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E3FDE45-AF77-4B5C-9715-49D594BDF05E}"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  <a:insideH>
            <a:ln w="12700" cmpd="sng">
              <a:solidFill>
                <a:schemeClr val="accent6">
                  <a:alpha val="15000"/>
                </a:schemeClr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  <a:fill>
          <a:solidFill>
            <a:schemeClr val="accent6">
              <a:alpha val="5000"/>
            </a:schemeClr>
          </a:solidFill>
        </a:fill>
      </a:tcStyle>
    </a:band1H>
    <a:band2H>
      <a:tcStyle>
        <a:tcBdr>
          <a:bottom>
            <a:ln w="12700" cmpd="sng">
              <a:solidFill>
                <a:schemeClr val="accent6">
                  <a:alpha val="15000"/>
                </a:schemeClr>
              </a:solidFill>
            </a:ln>
          </a:bottom>
        </a:tcBdr>
      </a:tcStyle>
    </a:band2H>
    <a:band1V>
      <a:tcStyle>
        <a:tcBdr/>
        <a:fill>
          <a:solidFill>
            <a:schemeClr val="accent6">
              <a:alpha val="5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/>
      <a:tcStyle>
        <a:tcBdr>
          <a:bottom>
            <a:ln w="2857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13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486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commentAuthors" Target="commentAuthors.xml"/><Relationship Id="rId28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edláček, Zdeněk (GBS CEE B&amp;S SOL-GMS)" userId="a5424aa8-3620-4f59-907a-c064f027ebda" providerId="ADAL" clId="{B279791B-7F33-4BA8-B669-F50886CA5627}"/>
    <pc:docChg chg="modSld">
      <pc:chgData name="Sedláček, Zdeněk (GBS CEE B&amp;S SOL-GMS)" userId="a5424aa8-3620-4f59-907a-c064f027ebda" providerId="ADAL" clId="{B279791B-7F33-4BA8-B669-F50886CA5627}" dt="2024-08-29T10:32:25.218" v="1" actId="20577"/>
      <pc:docMkLst>
        <pc:docMk/>
      </pc:docMkLst>
      <pc:sldChg chg="modSp mod">
        <pc:chgData name="Sedláček, Zdeněk (GBS CEE B&amp;S SOL-GMS)" userId="a5424aa8-3620-4f59-907a-c064f027ebda" providerId="ADAL" clId="{B279791B-7F33-4BA8-B669-F50886CA5627}" dt="2024-08-29T10:32:25.218" v="1" actId="20577"/>
        <pc:sldMkLst>
          <pc:docMk/>
          <pc:sldMk cId="2484266664" sldId="2134804566"/>
        </pc:sldMkLst>
        <pc:spChg chg="mod">
          <ac:chgData name="Sedláček, Zdeněk (GBS CEE B&amp;S SOL-GMS)" userId="a5424aa8-3620-4f59-907a-c064f027ebda" providerId="ADAL" clId="{B279791B-7F33-4BA8-B669-F50886CA5627}" dt="2024-08-29T10:32:25.218" v="1" actId="20577"/>
          <ac:spMkLst>
            <pc:docMk/>
            <pc:sldMk cId="2484266664" sldId="2134804566"/>
            <ac:spMk id="7" creationId="{129D7802-7806-668A-BD7F-3E93427FBED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A8492AF-21D1-4EA9-B88E-2B2469E5B0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b="1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C5CF11-9AB8-4366-83D6-4A911EAE67A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F1F2B9-B350-4061-A6D1-2A3340A8623F}" type="datetimeFigureOut">
              <a:rPr lang="en-US" sz="1050" smtClean="0"/>
              <a:t>8/29/2024</a:t>
            </a:fld>
            <a:endParaRPr lang="en-US" sz="105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97856F-D8D3-4EDB-AD63-B3F84321424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566997-7A2F-418F-AC55-BAC678F9F13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en-US" sz="1050" b="1">
                <a:solidFill>
                  <a:schemeClr val="accent2"/>
                </a:solidFill>
              </a:rPr>
              <a:t>Hand out</a:t>
            </a:r>
            <a:r>
              <a:rPr lang="en-US" sz="1050">
                <a:solidFill>
                  <a:schemeClr val="accent2"/>
                </a:solidFill>
              </a:rPr>
              <a:t> </a:t>
            </a:r>
            <a:fld id="{C92BABF8-1341-4DCB-864A-D83C08BEEAE4}" type="slidenum">
              <a:rPr lang="en-US" sz="1050" smtClean="0"/>
              <a:t>‹#›</a:t>
            </a:fld>
            <a:endParaRPr lang="en-US" sz="105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5A460D9-E760-498F-8A06-286EB0B001C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53000" y="550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783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 b="1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086800" y="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/>
            </a:lvl1pPr>
          </a:lstStyle>
          <a:p>
            <a:fld id="{76FBC1AF-E4C9-412F-9B6D-66CD520F95DB}" type="datetimeFigureOut">
              <a:rPr lang="en-US" smtClean="0"/>
              <a:pPr/>
              <a:t>8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800" y="619200"/>
            <a:ext cx="6048000" cy="3402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06800" y="4575600"/>
            <a:ext cx="6048000" cy="39600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84000"/>
            <a:ext cx="4363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5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086800" y="8784000"/>
            <a:ext cx="1771200" cy="360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50"/>
            </a:lvl1pPr>
          </a:lstStyle>
          <a:p>
            <a:r>
              <a:rPr lang="en-US" b="1">
                <a:solidFill>
                  <a:schemeClr val="accent2"/>
                </a:solidFill>
              </a:rPr>
              <a:t>Notes</a:t>
            </a:r>
            <a:r>
              <a:rPr lang="en-US"/>
              <a:t> </a:t>
            </a:r>
            <a:fld id="{E76C657F-0E32-4130-ADDA-66B81138A7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3060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720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864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008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152000" indent="-144000" algn="l" defTabSz="914400" rtl="0" eaLnBrk="1" latinLnBrk="0" hangingPunct="1">
      <a:spcAft>
        <a:spcPts val="300"/>
      </a:spcAft>
      <a:buClr>
        <a:schemeClr val="accent1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3.sv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3.sv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sv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sv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3.sv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svg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svg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3.svg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3.svg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svg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sv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customXml" Target="../../customXml/item2.xml"/><Relationship Id="rId4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customXml" Target="../../customXml/item3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3.svg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.svg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3.svg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.svg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4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4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3.svg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svg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6.svg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29.png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5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5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1.emf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svg"/></Relationships>
</file>

<file path=ppt/slideLayouts/_rels/slideLayout5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5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3.svg"/></Relationships>
</file>

<file path=ppt/slideLayouts/_rels/slideLayout5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svg"/></Relationships>
</file>

<file path=ppt/slideLayouts/_rels/slideLayout5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6.svg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5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9.svg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5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2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23.svg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6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svg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.sv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6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6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47.jpeg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4" Type="http://schemas.openxmlformats.org/officeDocument/2006/relationships/image" Target="../media/image47.jpeg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81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4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4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6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91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92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4" Type="http://schemas.openxmlformats.org/officeDocument/2006/relationships/slideMaster" Target="../slideMasters/slideMaster14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99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103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5.xml"/><Relationship Id="rId1" Type="http://schemas.openxmlformats.org/officeDocument/2006/relationships/tags" Target="../tags/tag104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4" Type="http://schemas.openxmlformats.org/officeDocument/2006/relationships/slideMaster" Target="../slideMasters/slideMaster14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4" Type="http://schemas.openxmlformats.org/officeDocument/2006/relationships/slideMaster" Target="../slideMasters/slideMaster14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11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120.xml"/><Relationship Id="rId4" Type="http://schemas.openxmlformats.org/officeDocument/2006/relationships/tags" Target="../tags/tag119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124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tags" Target="../tags/tag130.xml"/><Relationship Id="rId5" Type="http://schemas.openxmlformats.org/officeDocument/2006/relationships/tags" Target="../tags/tag129.xml"/><Relationship Id="rId4" Type="http://schemas.openxmlformats.org/officeDocument/2006/relationships/tags" Target="../tags/tag128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31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47.jpeg"/></Relationships>
</file>

<file path=ppt/slideLayouts/_rels/slideLayout6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4" Type="http://schemas.openxmlformats.org/officeDocument/2006/relationships/image" Target="../media/image47.jpeg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76.xml"/></Relationships>
</file>

<file path=ppt/slideLayouts/_rels/slideLayout683.xml.rels><?xml version="1.0" encoding="UTF-8" standalone="yes"?>
<Relationships xmlns="http://schemas.openxmlformats.org/package/2006/relationships"><Relationship Id="rId3" Type="http://schemas.openxmlformats.org/officeDocument/2006/relationships/tags" Target="../tags/tag179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4" Type="http://schemas.openxmlformats.org/officeDocument/2006/relationships/slideMaster" Target="../slideMasters/slideMaster15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6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sv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9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3.xml"/><Relationship Id="rId1" Type="http://schemas.openxmlformats.org/officeDocument/2006/relationships/tags" Target="../tags/tag182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85.xml"/><Relationship Id="rId1" Type="http://schemas.openxmlformats.org/officeDocument/2006/relationships/tags" Target="../tags/tag184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86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87.xml"/></Relationships>
</file>

<file path=ppt/slideLayouts/_rels/slideLayout695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4" Type="http://schemas.openxmlformats.org/officeDocument/2006/relationships/slideMaster" Target="../slideMasters/slideMaster15.xml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194.xml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198.xml"/></Relationships>
</file>

<file path=ppt/slideLayouts/_rels/slideLayout6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00.xml"/><Relationship Id="rId1" Type="http://schemas.openxmlformats.org/officeDocument/2006/relationships/tags" Target="../tags/tag199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4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4" Type="http://schemas.openxmlformats.org/officeDocument/2006/relationships/slideMaster" Target="../slideMasters/slideMaster15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210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215.xml"/><Relationship Id="rId4" Type="http://schemas.openxmlformats.org/officeDocument/2006/relationships/tags" Target="../tags/tag214.xml"/></Relationships>
</file>

<file path=ppt/slideLayouts/_rels/slideLayout703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219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7" Type="http://schemas.openxmlformats.org/officeDocument/2006/relationships/slideMaster" Target="../slideMasters/slideMaster15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5" Type="http://schemas.openxmlformats.org/officeDocument/2006/relationships/tags" Target="../tags/tag224.xml"/><Relationship Id="rId4" Type="http://schemas.openxmlformats.org/officeDocument/2006/relationships/tags" Target="../tags/tag22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5.xml"/><Relationship Id="rId1" Type="http://schemas.openxmlformats.org/officeDocument/2006/relationships/tags" Target="../tags/tag22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3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3.sv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50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65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6215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8781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535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1212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084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877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314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0168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17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655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8920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492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095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9658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899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834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198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0139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261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2728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277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604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541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2452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380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01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5243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268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2687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367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848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40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23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0576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7673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3344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224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11627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527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7603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027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56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852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37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7287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5118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2656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372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4334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2755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0925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4140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5256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010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8242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8567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903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55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0609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240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150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967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8431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585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9846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25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4940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18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2494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649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7167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194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361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538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36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959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3617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0290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201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866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884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22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8121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9439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0533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3894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1511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89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3907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632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5826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8647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318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1415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32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535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468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4895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911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2513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3277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2097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109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400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9270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2532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613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668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803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117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1962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7483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02992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6121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6183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027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6921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823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817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417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028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6475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28365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4443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9592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153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475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147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3738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438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548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952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6734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8970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313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652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724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3950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7377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003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242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2919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6490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2259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439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619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404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77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0782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7384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23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1138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4307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3931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486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113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973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4371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0246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14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5896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351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8059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8507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2797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99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8069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140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710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835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965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43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229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45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268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478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859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8201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117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648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234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70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7628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642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165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226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484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21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864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211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782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231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50709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950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0983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0253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041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337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11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728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6213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5851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930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3662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45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8382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9805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1950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618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902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499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8394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1938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99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760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840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271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6238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512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5913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961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036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670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802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516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03685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4170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68954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4405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774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13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6233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747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637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980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4051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356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4538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082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93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630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160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123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8236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396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525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12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62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471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343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4563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916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109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0748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02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>
  <p:cSld name="1_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200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6736" y="1440000"/>
            <a:ext cx="8204689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319348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 dirty="0"/>
            </a:p>
          </p:txBody>
        </p: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45801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2120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8268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743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201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636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270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0645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1262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626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7263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5796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2691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5470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310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646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567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9692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068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0156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199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396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381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4561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7761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4330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5939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134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8451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064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147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79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522" userDrawn="1">
          <p15:clr>
            <a:srgbClr val="65CEFF"/>
          </p15:clr>
        </p15:guide>
        <p15:guide id="3" pos="4794" userDrawn="1">
          <p15:clr>
            <a:srgbClr val="65CEFF"/>
          </p15:clr>
        </p15:guide>
        <p15:guide id="4" pos="5066" userDrawn="1">
          <p15:clr>
            <a:srgbClr val="65CEFF"/>
          </p15:clr>
        </p15:guide>
        <p15:guide id="5" pos="6472" userDrawn="1">
          <p15:clr>
            <a:srgbClr val="65CEFF"/>
          </p15:clr>
        </p15:guide>
        <p15:guide id="6" pos="7425" userDrawn="1">
          <p15:clr>
            <a:srgbClr val="65CEFF"/>
          </p15:clr>
        </p15:guide>
        <p15:guide id="7" orient="horz" pos="302" userDrawn="1">
          <p15:clr>
            <a:srgbClr val="65CEFF"/>
          </p15:clr>
        </p15:guide>
        <p15:guide id="8" orient="horz" pos="664" userDrawn="1">
          <p15:clr>
            <a:srgbClr val="65CEFF"/>
          </p15:clr>
        </p15:guide>
        <p15:guide id="9" orient="horz" pos="891" userDrawn="1">
          <p15:clr>
            <a:srgbClr val="65CEFF"/>
          </p15:clr>
        </p15:guide>
        <p15:guide id="10" orient="horz" pos="3658" userDrawn="1">
          <p15:clr>
            <a:srgbClr val="65CEFF"/>
          </p15:clr>
        </p15:guide>
        <p15:guide id="11" orient="horz" pos="3885" userDrawn="1">
          <p15:clr>
            <a:srgbClr val="65CEFF"/>
          </p15:clr>
        </p15:guide>
        <p15:guide id="12" orient="horz" pos="4157" userDrawn="1">
          <p15:clr>
            <a:srgbClr val="65CEFF"/>
          </p15:clr>
        </p15:guide>
      </p15:sldGuideLst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5776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417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041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094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661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2832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903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955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751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0953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534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48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9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001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944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50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886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680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2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4190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537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83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3705" userDrawn="1">
          <p15:clr>
            <a:srgbClr val="65CEFF"/>
          </p15:clr>
        </p15:guide>
        <p15:guide id="5" pos="3978" userDrawn="1">
          <p15:clr>
            <a:srgbClr val="65CEFF"/>
          </p15:clr>
        </p15:guide>
        <p15:guide id="7" pos="4975" userDrawn="1">
          <p15:clr>
            <a:srgbClr val="65CEFF"/>
          </p15:clr>
        </p15:guide>
        <p15:guide id="8" pos="5157" userDrawn="1">
          <p15:clr>
            <a:srgbClr val="65CEFF"/>
          </p15:clr>
        </p15:guide>
        <p15:guide id="9" pos="6472" userDrawn="1">
          <p15:clr>
            <a:srgbClr val="65CEFF"/>
          </p15:clr>
        </p15:guide>
        <p15:guide id="10" pos="7425" userDrawn="1">
          <p15:clr>
            <a:srgbClr val="65CEFF"/>
          </p15:clr>
        </p15:guide>
        <p15:guide id="11" orient="horz" pos="302" userDrawn="1">
          <p15:clr>
            <a:srgbClr val="65CEFF"/>
          </p15:clr>
        </p15:guide>
        <p15:guide id="12" orient="horz" pos="664" userDrawn="1">
          <p15:clr>
            <a:srgbClr val="65CEFF"/>
          </p15:clr>
        </p15:guide>
        <p15:guide id="13" orient="horz" pos="891" userDrawn="1">
          <p15:clr>
            <a:srgbClr val="65CEFF"/>
          </p15:clr>
        </p15:guide>
        <p15:guide id="14" orient="horz" pos="2206" userDrawn="1">
          <p15:clr>
            <a:srgbClr val="65CEFF"/>
          </p15:clr>
        </p15:guide>
        <p15:guide id="15" orient="horz" pos="2343" userDrawn="1">
          <p15:clr>
            <a:srgbClr val="65CEFF"/>
          </p15:clr>
        </p15:guide>
        <p15:guide id="16" orient="horz" pos="3658" userDrawn="1">
          <p15:clr>
            <a:srgbClr val="65CEFF"/>
          </p15:clr>
        </p15:guide>
        <p15:guide id="17" orient="horz" pos="3885" userDrawn="1">
          <p15:clr>
            <a:srgbClr val="65CEFF"/>
          </p15:clr>
        </p15:guide>
        <p15:guide id="18" orient="horz" pos="4157" userDrawn="1">
          <p15:clr>
            <a:srgbClr val="65CEFF"/>
          </p15:clr>
        </p15:guide>
      </p15:sldGuideLst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6409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074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123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599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9151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4797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851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5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02052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38960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942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6472" userDrawn="1">
          <p15:clr>
            <a:srgbClr val="65CEFF"/>
          </p15:clr>
        </p15:guide>
        <p15:guide id="4" pos="7425" userDrawn="1">
          <p15:clr>
            <a:srgbClr val="65CEFF"/>
          </p15:clr>
        </p15:guide>
        <p15:guide id="5" orient="horz" pos="302" userDrawn="1">
          <p15:clr>
            <a:srgbClr val="65CEFF"/>
          </p15:clr>
        </p15:guide>
        <p15:guide id="6" orient="horz" pos="664" userDrawn="1">
          <p15:clr>
            <a:srgbClr val="65CEFF"/>
          </p15:clr>
        </p15:guide>
        <p15:guide id="7" orient="horz" pos="891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347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60165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539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1159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3016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075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014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548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040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959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5914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5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6788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296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3108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926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433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388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957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499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61413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0828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43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235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928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4757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395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929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3242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305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02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357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66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91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279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3028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760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85461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98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6501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520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922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228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540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860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3705" userDrawn="1">
          <p15:clr>
            <a:srgbClr val="65CEFF"/>
          </p15:clr>
        </p15:guide>
        <p15:guide id="3" pos="3978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2206" userDrawn="1">
          <p15:clr>
            <a:srgbClr val="65CEFF"/>
          </p15:clr>
        </p15:guide>
        <p15:guide id="10" orient="horz" pos="2343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8594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108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1989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737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762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3295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8846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9413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3950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685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48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312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2193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468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0111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4833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0795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0744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2924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384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522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4610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4794" userDrawn="1">
          <p15:clr>
            <a:srgbClr val="65CEFF"/>
          </p15:clr>
        </p15:guide>
        <p15:guide id="3" pos="5066" userDrawn="1">
          <p15:clr>
            <a:srgbClr val="65CEFF"/>
          </p15:clr>
        </p15:guide>
        <p15:guide id="4" pos="6472" userDrawn="1">
          <p15:clr>
            <a:srgbClr val="65CEFF"/>
          </p15:clr>
        </p15:guide>
        <p15:guide id="5" pos="7425" userDrawn="1">
          <p15:clr>
            <a:srgbClr val="65CEFF"/>
          </p15:clr>
        </p15:guide>
        <p15:guide id="6" orient="horz" pos="302" userDrawn="1">
          <p15:clr>
            <a:srgbClr val="65CEFF"/>
          </p15:clr>
        </p15:guide>
        <p15:guide id="7" orient="horz" pos="664" userDrawn="1">
          <p15:clr>
            <a:srgbClr val="65CEFF"/>
          </p15:clr>
        </p15:guide>
        <p15:guide id="8" orient="horz" pos="891" userDrawn="1">
          <p15:clr>
            <a:srgbClr val="65CEFF"/>
          </p15:clr>
        </p15:guide>
        <p15:guide id="9" orient="horz" pos="3658" userDrawn="1">
          <p15:clr>
            <a:srgbClr val="65CEFF"/>
          </p15:clr>
        </p15:guide>
        <p15:guide id="10" orient="horz" pos="3885" userDrawn="1">
          <p15:clr>
            <a:srgbClr val="65CEFF"/>
          </p15:clr>
        </p15:guide>
        <p15:guide id="11" orient="horz" pos="4157" userDrawn="1">
          <p15:clr>
            <a:srgbClr val="65CEFF"/>
          </p15:clr>
        </p15:guide>
      </p15:sldGuideLst>
    </p:ext>
  </p:extLs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4649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960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7793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93655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532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9203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9406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685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1929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870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428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302" userDrawn="1">
          <p15:clr>
            <a:srgbClr val="65CEFF"/>
          </p15:clr>
        </p15:guide>
        <p15:guide id="5" orient="horz" pos="664" userDrawn="1">
          <p15:clr>
            <a:srgbClr val="65CEFF"/>
          </p15:clr>
        </p15:guide>
        <p15:guide id="6" orient="horz" pos="891" userDrawn="1">
          <p15:clr>
            <a:srgbClr val="65CEFF"/>
          </p15:clr>
        </p15:guide>
        <p15:guide id="7" orient="horz" pos="3658" userDrawn="1">
          <p15:clr>
            <a:srgbClr val="65CEFF"/>
          </p15:clr>
        </p15:guide>
        <p15:guide id="8" orient="horz" pos="3885" userDrawn="1">
          <p15:clr>
            <a:srgbClr val="65CEFF"/>
          </p15:clr>
        </p15:guide>
        <p15:guide id="9" orient="horz" pos="4157" userDrawn="1">
          <p15:clr>
            <a:srgbClr val="65CEFF"/>
          </p15:clr>
        </p15:guide>
      </p15:sldGuideLst>
    </p:ext>
  </p:extLs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770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585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351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442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4280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0215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912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6284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650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462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158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2526" userDrawn="1">
          <p15:clr>
            <a:srgbClr val="65CEFF"/>
          </p15:clr>
        </p15:guide>
        <p15:guide id="3" pos="2708" userDrawn="1">
          <p15:clr>
            <a:srgbClr val="65CEFF"/>
          </p15:clr>
        </p15:guide>
        <p15:guide id="4" pos="4975" userDrawn="1">
          <p15:clr>
            <a:srgbClr val="65CEFF"/>
          </p15:clr>
        </p15:guide>
        <p15:guide id="5" pos="5157" userDrawn="1">
          <p15:clr>
            <a:srgbClr val="65CEFF"/>
          </p15:clr>
        </p15:guide>
        <p15:guide id="6" pos="6472" userDrawn="1">
          <p15:clr>
            <a:srgbClr val="65CEFF"/>
          </p15:clr>
        </p15:guide>
        <p15:guide id="7" pos="7425" userDrawn="1">
          <p15:clr>
            <a:srgbClr val="65CEFF"/>
          </p15:clr>
        </p15:guide>
        <p15:guide id="8" orient="horz" pos="302" userDrawn="1">
          <p15:clr>
            <a:srgbClr val="65CEFF"/>
          </p15:clr>
        </p15:guide>
        <p15:guide id="9" orient="horz" pos="664" userDrawn="1">
          <p15:clr>
            <a:srgbClr val="65CEFF"/>
          </p15:clr>
        </p15:guide>
        <p15:guide id="10" orient="horz" pos="891" userDrawn="1">
          <p15:clr>
            <a:srgbClr val="65CEFF"/>
          </p15:clr>
        </p15:guide>
        <p15:guide id="11" orient="horz" pos="3658" userDrawn="1">
          <p15:clr>
            <a:srgbClr val="65CEFF"/>
          </p15:clr>
        </p15:guide>
        <p15:guide id="12" orient="horz" pos="3885" userDrawn="1">
          <p15:clr>
            <a:srgbClr val="65CEFF"/>
          </p15:clr>
        </p15:guide>
        <p15:guide id="13" orient="horz" pos="4157" userDrawn="1">
          <p15:clr>
            <a:srgbClr val="65CEFF"/>
          </p15:clr>
        </p15:guide>
      </p15:sldGuideLst>
    </p:ext>
  </p:extLs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843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410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0477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587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19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969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563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67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05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282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419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2206" userDrawn="1">
          <p15:clr>
            <a:srgbClr val="65CEFF"/>
          </p15:clr>
        </p15:guide>
        <p15:guide id="7" orient="horz" pos="2343" userDrawn="1">
          <p15:clr>
            <a:srgbClr val="65CEFF"/>
          </p15:clr>
        </p15:guide>
        <p15:guide id="8" orient="horz" pos="3658" userDrawn="1">
          <p15:clr>
            <a:srgbClr val="65CEFF"/>
          </p15:clr>
        </p15:guide>
        <p15:guide id="9" orient="horz" pos="3885" userDrawn="1">
          <p15:clr>
            <a:srgbClr val="65CEFF"/>
          </p15:clr>
        </p15:guide>
        <p15:guide id="10" orient="horz" pos="4157" userDrawn="1">
          <p15:clr>
            <a:srgbClr val="65CEFF"/>
          </p15:clr>
        </p15:guide>
      </p15:sldGuideLst>
    </p:ext>
  </p:extLs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4138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52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31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627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038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676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0266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6256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4115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6941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512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91" userDrawn="1">
          <p15:clr>
            <a:srgbClr val="65CEFF"/>
          </p15:clr>
        </p15:guide>
        <p15:guide id="5" orient="horz" pos="1073" userDrawn="1">
          <p15:clr>
            <a:srgbClr val="65CEFF"/>
          </p15:clr>
        </p15:guide>
        <p15:guide id="6" orient="horz" pos="3658" userDrawn="1">
          <p15:clr>
            <a:srgbClr val="65CEFF"/>
          </p15:clr>
        </p15:guide>
        <p15:guide id="7" orient="horz" pos="3885" userDrawn="1">
          <p15:clr>
            <a:srgbClr val="65CEFF"/>
          </p15:clr>
        </p15:guide>
        <p15:guide id="8" orient="horz" pos="4157" userDrawn="1">
          <p15:clr>
            <a:srgbClr val="65CEFF"/>
          </p15:clr>
        </p15:guide>
      </p15:sldGuideLst>
    </p:ext>
  </p:extLs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687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136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9235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29127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5391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1663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8644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8155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7788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3787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54260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78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4498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123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0644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4153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674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09738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2895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892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698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7657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416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801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266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050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044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0427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8405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921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972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9554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285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981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799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 userDrawn="1">
          <p15:clr>
            <a:srgbClr val="65CEFF"/>
          </p15:clr>
        </p15:guide>
        <p15:guide id="2" pos="6472" userDrawn="1">
          <p15:clr>
            <a:srgbClr val="65CEFF"/>
          </p15:clr>
        </p15:guide>
        <p15:guide id="3" pos="7425" userDrawn="1">
          <p15:clr>
            <a:srgbClr val="65CEFF"/>
          </p15:clr>
        </p15:guide>
        <p15:guide id="4" orient="horz" pos="778" userDrawn="1">
          <p15:clr>
            <a:srgbClr val="65CEFF"/>
          </p15:clr>
        </p15:guide>
        <p15:guide id="5" orient="horz" pos="3658" userDrawn="1">
          <p15:clr>
            <a:srgbClr val="65CEFF"/>
          </p15:clr>
        </p15:guide>
        <p15:guide id="6" orient="horz" pos="4157" userDrawn="1">
          <p15:clr>
            <a:srgbClr val="65CEFF"/>
          </p15:clr>
        </p15:guide>
      </p15:sldGuideLst>
    </p:ext>
  </p:extLs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389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998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498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661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7261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5116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592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42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689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02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rafik 80">
            <a:extLst>
              <a:ext uri="{FF2B5EF4-FFF2-40B4-BE49-F238E27FC236}">
                <a16:creationId xmlns:a16="http://schemas.microsoft.com/office/drawing/2014/main" id="{49D98830-FD5F-4B04-934C-7C0BAAD30B0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830"/>
            <a:ext cx="12192000" cy="6856340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5" y="4262411"/>
            <a:ext cx="6476627" cy="154009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5807" tIns="89919" rIns="215807" bIns="215807" anchor="b" anchorCtr="0">
            <a:spAutoFit/>
          </a:bodyPr>
          <a:lstStyle>
            <a:lvl1pPr>
              <a:defRPr sz="39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1" y="3"/>
            <a:ext cx="1586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51" rIns="0" bIns="0">
            <a:noAutofit/>
          </a:bodyPr>
          <a:lstStyle/>
          <a:p>
            <a:pPr algn="ctr"/>
            <a:endParaRPr lang="en-US" sz="1099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6735" y="59076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5807" tIns="89919" rIns="215807" bIns="46758"/>
          <a:lstStyle>
            <a:lvl1pPr algn="r">
              <a:lnSpc>
                <a:spcPct val="100000"/>
              </a:lnSpc>
              <a:defRPr sz="900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8" y="5907600"/>
            <a:ext cx="2338781" cy="324000"/>
          </a:xfrm>
        </p:spPr>
        <p:txBody>
          <a:bodyPr lIns="215807" tIns="89919" rIns="0" bIns="46758"/>
          <a:lstStyle>
            <a:lvl1pPr algn="l">
              <a:lnSpc>
                <a:spcPct val="100000"/>
              </a:lnSpc>
              <a:defRPr sz="900" b="1"/>
            </a:lvl1pPr>
            <a:lvl2pPr marL="1587" indent="0">
              <a:buNone/>
              <a:defRPr/>
            </a:lvl2pPr>
          </a:lstStyle>
          <a:p>
            <a:pPr lvl="0"/>
            <a:r>
              <a:rPr lang="de-DE"/>
              <a:t>Please insert Unrestrictedity note</a:t>
            </a:r>
            <a:endParaRPr lang="de-DE" dirty="0"/>
          </a:p>
        </p:txBody>
      </p:sp>
      <p:grpSp>
        <p:nvGrpSpPr>
          <p:cNvPr id="2" name="Gruppieren 33"/>
          <p:cNvGrpSpPr/>
          <p:nvPr userDrawn="1"/>
        </p:nvGrpSpPr>
        <p:grpSpPr>
          <a:xfrm>
            <a:off x="-215877" y="-216000"/>
            <a:ext cx="12622225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1" name="Group 33"/>
          <p:cNvGrpSpPr>
            <a:grpSpLocks noChangeAspect="1"/>
          </p:cNvGrpSpPr>
          <p:nvPr userDrawn="1"/>
        </p:nvGrpSpPr>
        <p:grpSpPr bwMode="auto">
          <a:xfrm>
            <a:off x="9550189" y="323850"/>
            <a:ext cx="2157876" cy="914400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5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6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6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799"/>
            </a:p>
          </p:txBody>
        </p:sp>
      </p:grpSp>
    </p:spTree>
    <p:extLst>
      <p:ext uri="{BB962C8B-B14F-4D97-AF65-F5344CB8AC3E}">
        <p14:creationId xmlns:p14="http://schemas.microsoft.com/office/powerpoint/2010/main" val="4081233330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9803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694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6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95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033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691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802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703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081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4059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62F166-79F2-4777-80D7-5F9443A4B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7728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62F166-79F2-4777-80D7-5F9443A4B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242F1E1-A3AD-47F2-98FC-8CB463AB34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8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Cognisphere">
            <a:extLst>
              <a:ext uri="{FF2B5EF4-FFF2-40B4-BE49-F238E27FC236}">
                <a16:creationId xmlns:a16="http://schemas.microsoft.com/office/drawing/2014/main" id="{425A07C0-2C98-4684-A31B-ED04F14FA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803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0298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5044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95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678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3765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124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7153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1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341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8790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46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E3115208-3E9A-4F24-B4C9-D1085C300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017"/>
          <a:stretch/>
        </p:blipFill>
        <p:spPr>
          <a:xfrm>
            <a:off x="404812" y="0"/>
            <a:ext cx="11787188" cy="6858000"/>
          </a:xfrm>
          <a:custGeom>
            <a:avLst/>
            <a:gdLst>
              <a:gd name="connsiteX0" fmla="*/ 0 w 11787188"/>
              <a:gd name="connsiteY0" fmla="*/ 0 h 6858000"/>
              <a:gd name="connsiteX1" fmla="*/ 11787188 w 11787188"/>
              <a:gd name="connsiteY1" fmla="*/ 0 h 6858000"/>
              <a:gd name="connsiteX2" fmla="*/ 11787188 w 11787188"/>
              <a:gd name="connsiteY2" fmla="*/ 5919537 h 6858000"/>
              <a:gd name="connsiteX3" fmla="*/ 9545304 w 11787188"/>
              <a:gd name="connsiteY3" fmla="*/ 5919537 h 6858000"/>
              <a:gd name="connsiteX4" fmla="*/ 9545304 w 11787188"/>
              <a:gd name="connsiteY4" fmla="*/ 6858000 h 6858000"/>
              <a:gd name="connsiteX5" fmla="*/ 0 w 1178718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87188" h="6858000">
                <a:moveTo>
                  <a:pt x="0" y="0"/>
                </a:moveTo>
                <a:lnTo>
                  <a:pt x="11787188" y="0"/>
                </a:lnTo>
                <a:lnTo>
                  <a:pt x="11787188" y="5919537"/>
                </a:lnTo>
                <a:lnTo>
                  <a:pt x="9545304" y="5919537"/>
                </a:lnTo>
                <a:lnTo>
                  <a:pt x="95453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600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4437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791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217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536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96595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969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938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559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784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7705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C23ABC29-C5E7-4C8C-8ED9-0C892DBB03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938"/>
          <a:stretch/>
        </p:blipFill>
        <p:spPr>
          <a:xfrm rot="5400000">
            <a:off x="2872582" y="-2461419"/>
            <a:ext cx="6858000" cy="11780837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562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459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457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8377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9071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0128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947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636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167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504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2052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light, green, traffic&#10;&#10;Description automatically generated">
            <a:extLst>
              <a:ext uri="{FF2B5EF4-FFF2-40B4-BE49-F238E27FC236}">
                <a16:creationId xmlns:a16="http://schemas.microsoft.com/office/drawing/2014/main" id="{56EBB59A-6013-4BC8-99EE-FC7587A68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927"/>
          <a:stretch/>
        </p:blipFill>
        <p:spPr>
          <a:xfrm rot="16200000">
            <a:off x="2869406" y="-2464594"/>
            <a:ext cx="6858000" cy="11787188"/>
          </a:xfrm>
          <a:custGeom>
            <a:avLst/>
            <a:gdLst>
              <a:gd name="connsiteX0" fmla="*/ 6858000 w 6858000"/>
              <a:gd name="connsiteY0" fmla="*/ 0 h 11787188"/>
              <a:gd name="connsiteX1" fmla="*/ 6858000 w 6858000"/>
              <a:gd name="connsiteY1" fmla="*/ 11787188 h 11787188"/>
              <a:gd name="connsiteX2" fmla="*/ 745958 w 6858000"/>
              <a:gd name="connsiteY2" fmla="*/ 11787188 h 11787188"/>
              <a:gd name="connsiteX3" fmla="*/ 745958 w 6858000"/>
              <a:gd name="connsiteY3" fmla="*/ 9702286 h 11787188"/>
              <a:gd name="connsiteX4" fmla="*/ 0 w 6858000"/>
              <a:gd name="connsiteY4" fmla="*/ 9702286 h 11787188"/>
              <a:gd name="connsiteX5" fmla="*/ 0 w 6858000"/>
              <a:gd name="connsiteY5" fmla="*/ 8202780 h 11787188"/>
              <a:gd name="connsiteX6" fmla="*/ 0 w 6858000"/>
              <a:gd name="connsiteY6" fmla="*/ 6838770 h 11787188"/>
              <a:gd name="connsiteX7" fmla="*/ 0 w 6858000"/>
              <a:gd name="connsiteY7" fmla="*/ 0 h 1178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1787188">
                <a:moveTo>
                  <a:pt x="6858000" y="0"/>
                </a:moveTo>
                <a:lnTo>
                  <a:pt x="6858000" y="11787188"/>
                </a:lnTo>
                <a:lnTo>
                  <a:pt x="745958" y="11787188"/>
                </a:lnTo>
                <a:lnTo>
                  <a:pt x="745958" y="9702286"/>
                </a:lnTo>
                <a:lnTo>
                  <a:pt x="0" y="9702286"/>
                </a:lnTo>
                <a:lnTo>
                  <a:pt x="0" y="8202780"/>
                </a:lnTo>
                <a:lnTo>
                  <a:pt x="0" y="683877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2960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0013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8908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626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793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270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262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5958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6595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830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7077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C2CEA4C1-9D9C-4523-9656-F00A59A3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994"/>
          <a:stretch/>
        </p:blipFill>
        <p:spPr>
          <a:xfrm rot="10800000">
            <a:off x="404812" y="0"/>
            <a:ext cx="11787188" cy="6858000"/>
          </a:xfrm>
          <a:custGeom>
            <a:avLst/>
            <a:gdLst>
              <a:gd name="connsiteX0" fmla="*/ 11787188 w 11787188"/>
              <a:gd name="connsiteY0" fmla="*/ 6858000 h 6858000"/>
              <a:gd name="connsiteX1" fmla="*/ 0 w 11787188"/>
              <a:gd name="connsiteY1" fmla="*/ 6858000 h 6858000"/>
              <a:gd name="connsiteX2" fmla="*/ 0 w 11787188"/>
              <a:gd name="connsiteY2" fmla="*/ 1414464 h 6858000"/>
              <a:gd name="connsiteX3" fmla="*/ 630221 w 11787188"/>
              <a:gd name="connsiteY3" fmla="*/ 1414464 h 6858000"/>
              <a:gd name="connsiteX4" fmla="*/ 630221 w 11787188"/>
              <a:gd name="connsiteY4" fmla="*/ 649705 h 6858000"/>
              <a:gd name="connsiteX5" fmla="*/ 1917600 w 11787188"/>
              <a:gd name="connsiteY5" fmla="*/ 649705 h 6858000"/>
              <a:gd name="connsiteX6" fmla="*/ 1917600 w 11787188"/>
              <a:gd name="connsiteY6" fmla="*/ 0 h 6858000"/>
              <a:gd name="connsiteX7" fmla="*/ 11787188 w 11787188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87188" h="6858000">
                <a:moveTo>
                  <a:pt x="11787188" y="6858000"/>
                </a:moveTo>
                <a:lnTo>
                  <a:pt x="0" y="6858000"/>
                </a:lnTo>
                <a:lnTo>
                  <a:pt x="0" y="1414464"/>
                </a:lnTo>
                <a:lnTo>
                  <a:pt x="630221" y="1414464"/>
                </a:lnTo>
                <a:lnTo>
                  <a:pt x="630221" y="649705"/>
                </a:lnTo>
                <a:lnTo>
                  <a:pt x="1917600" y="649705"/>
                </a:lnTo>
                <a:lnTo>
                  <a:pt x="1917600" y="0"/>
                </a:lnTo>
                <a:lnTo>
                  <a:pt x="11787188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1403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087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120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606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876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014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127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5585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746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3683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035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CD68F259-AA3E-4A60-88DB-14C10A07F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864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7568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4321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3235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58B0D615-7DD6-4F3B-B5A8-5FED3122CD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5521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ognisphere" descr="A picture containing sitting, light, star&#10;&#10;Description automatically generated">
            <a:extLst>
              <a:ext uri="{FF2B5EF4-FFF2-40B4-BE49-F238E27FC236}">
                <a16:creationId xmlns:a16="http://schemas.microsoft.com/office/drawing/2014/main" id="{8FF4D391-2E55-4CA3-AD88-9F665A99D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4863" y="-1"/>
            <a:ext cx="9147137" cy="6858001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3102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0AF4CFDA-9017-4437-8E79-2A4F313D18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70293" y="0"/>
            <a:ext cx="932170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8970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BF2234F-9B0A-4F48-9310-112285F171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2738" y="1"/>
            <a:ext cx="7299262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932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gnisphere">
            <a:extLst>
              <a:ext uri="{FF2B5EF4-FFF2-40B4-BE49-F238E27FC236}">
                <a16:creationId xmlns:a16="http://schemas.microsoft.com/office/drawing/2014/main" id="{D476D8E9-70D3-4F5C-817A-59B4556FCC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84900" y="0"/>
            <a:ext cx="77071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3861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6528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3908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3080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2EAC16F4-7563-461F-AF39-B56F0AEEE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33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938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671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756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3603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2391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1616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449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1305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7889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2481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74428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455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9943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23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4408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150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0624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616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4037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107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4921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438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8300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592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6579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D43FFEAA-E7FF-47DB-9F0A-3997BEA2F2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3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3104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972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032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335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87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4E5DD9C8-3479-482F-955A-7C58759541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265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gnisphere">
            <a:extLst>
              <a:ext uri="{FF2B5EF4-FFF2-40B4-BE49-F238E27FC236}">
                <a16:creationId xmlns:a16="http://schemas.microsoft.com/office/drawing/2014/main" id="{B57A8412-2184-4BFC-B1FD-40B760A9A6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7163" y="0"/>
            <a:ext cx="9294838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5039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8612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4124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457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966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570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07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282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716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009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957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999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4310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246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599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3658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500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fik 28">
            <a:extLst>
              <a:ext uri="{FF2B5EF4-FFF2-40B4-BE49-F238E27FC236}">
                <a16:creationId xmlns:a16="http://schemas.microsoft.com/office/drawing/2014/main" id="{5C6B6D82-11FC-4080-8413-5FD90AED9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076150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8428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noProof="0"/>
              <a:t>Bitte URL einfügen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842800"/>
            <a:ext cx="3309801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noProof="0"/>
              <a:t>Bitte Schutzvermerk einfügen</a:t>
            </a:r>
          </a:p>
        </p:txBody>
      </p:sp>
      <p:grpSp>
        <p:nvGrpSpPr>
          <p:cNvPr id="59" name="Gruppieren 3">
            <a:extLst>
              <a:ext uri="{FF2B5EF4-FFF2-40B4-BE49-F238E27FC236}">
                <a16:creationId xmlns:a16="http://schemas.microsoft.com/office/drawing/2014/main" id="{A691E265-6AE7-4F52-9FA3-A27084AF4243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1" name="Gerade Verbindung 2">
              <a:extLst>
                <a:ext uri="{FF2B5EF4-FFF2-40B4-BE49-F238E27FC236}">
                  <a16:creationId xmlns:a16="http://schemas.microsoft.com/office/drawing/2014/main" id="{5B37F45B-E874-4C79-8860-F473609BDA0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5">
              <a:extLst>
                <a:ext uri="{FF2B5EF4-FFF2-40B4-BE49-F238E27FC236}">
                  <a16:creationId xmlns:a16="http://schemas.microsoft.com/office/drawing/2014/main" id="{D4E87EB4-6557-40E6-A5ED-B410A0B7C4A0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6">
              <a:extLst>
                <a:ext uri="{FF2B5EF4-FFF2-40B4-BE49-F238E27FC236}">
                  <a16:creationId xmlns:a16="http://schemas.microsoft.com/office/drawing/2014/main" id="{FC32CE1A-D277-4C9F-9728-00823F89F06B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7">
              <a:extLst>
                <a:ext uri="{FF2B5EF4-FFF2-40B4-BE49-F238E27FC236}">
                  <a16:creationId xmlns:a16="http://schemas.microsoft.com/office/drawing/2014/main" id="{6C8D9030-8238-488B-A1CA-E946B3EB6382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38">
              <a:extLst>
                <a:ext uri="{FF2B5EF4-FFF2-40B4-BE49-F238E27FC236}">
                  <a16:creationId xmlns:a16="http://schemas.microsoft.com/office/drawing/2014/main" id="{643D9DC7-43C9-4F1E-847C-011EFA21E077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39">
              <a:extLst>
                <a:ext uri="{FF2B5EF4-FFF2-40B4-BE49-F238E27FC236}">
                  <a16:creationId xmlns:a16="http://schemas.microsoft.com/office/drawing/2014/main" id="{CEA59B9E-B8B2-4C69-8F60-F30349BB5D7A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1">
              <a:extLst>
                <a:ext uri="{FF2B5EF4-FFF2-40B4-BE49-F238E27FC236}">
                  <a16:creationId xmlns:a16="http://schemas.microsoft.com/office/drawing/2014/main" id="{15E1E1DD-B9E5-4989-A684-9584CCDF3534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2">
              <a:extLst>
                <a:ext uri="{FF2B5EF4-FFF2-40B4-BE49-F238E27FC236}">
                  <a16:creationId xmlns:a16="http://schemas.microsoft.com/office/drawing/2014/main" id="{35E258CA-7E96-43C7-AA71-0BB11110309F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3">
              <a:extLst>
                <a:ext uri="{FF2B5EF4-FFF2-40B4-BE49-F238E27FC236}">
                  <a16:creationId xmlns:a16="http://schemas.microsoft.com/office/drawing/2014/main" id="{0F60B345-12C5-45F5-B1F3-B824C0CD7955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4">
              <a:extLst>
                <a:ext uri="{FF2B5EF4-FFF2-40B4-BE49-F238E27FC236}">
                  <a16:creationId xmlns:a16="http://schemas.microsoft.com/office/drawing/2014/main" id="{5E54D5D9-6CA6-475C-8A77-7FEBBB76A8B0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1">
              <a:extLst>
                <a:ext uri="{FF2B5EF4-FFF2-40B4-BE49-F238E27FC236}">
                  <a16:creationId xmlns:a16="http://schemas.microsoft.com/office/drawing/2014/main" id="{8DC38C0E-4CD8-44EC-8953-D6B6D93C32D7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2">
              <a:extLst>
                <a:ext uri="{FF2B5EF4-FFF2-40B4-BE49-F238E27FC236}">
                  <a16:creationId xmlns:a16="http://schemas.microsoft.com/office/drawing/2014/main" id="{FED900E3-2A38-4F5C-80E9-162003EBAA8E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3">
              <a:extLst>
                <a:ext uri="{FF2B5EF4-FFF2-40B4-BE49-F238E27FC236}">
                  <a16:creationId xmlns:a16="http://schemas.microsoft.com/office/drawing/2014/main" id="{DE8D7EC7-3897-448F-AE78-6A9A90101E1C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4">
              <a:extLst>
                <a:ext uri="{FF2B5EF4-FFF2-40B4-BE49-F238E27FC236}">
                  <a16:creationId xmlns:a16="http://schemas.microsoft.com/office/drawing/2014/main" id="{ABE0C40A-0334-4865-8D6D-01D365CDC427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5">
              <a:extLst>
                <a:ext uri="{FF2B5EF4-FFF2-40B4-BE49-F238E27FC236}">
                  <a16:creationId xmlns:a16="http://schemas.microsoft.com/office/drawing/2014/main" id="{4750E5EA-37B5-45C7-A071-98282C04C239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6">
              <a:extLst>
                <a:ext uri="{FF2B5EF4-FFF2-40B4-BE49-F238E27FC236}">
                  <a16:creationId xmlns:a16="http://schemas.microsoft.com/office/drawing/2014/main" id="{E06C1A97-7249-4D44-9BE2-EF4EED7CC9CC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58">
              <a:extLst>
                <a:ext uri="{FF2B5EF4-FFF2-40B4-BE49-F238E27FC236}">
                  <a16:creationId xmlns:a16="http://schemas.microsoft.com/office/drawing/2014/main" id="{82A54D8B-6494-43F4-A2BB-2D851464207C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59">
              <a:extLst>
                <a:ext uri="{FF2B5EF4-FFF2-40B4-BE49-F238E27FC236}">
                  <a16:creationId xmlns:a16="http://schemas.microsoft.com/office/drawing/2014/main" id="{4BB78C3C-9332-4C41-AB62-2AB98A65F4C3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60">
              <a:extLst>
                <a:ext uri="{FF2B5EF4-FFF2-40B4-BE49-F238E27FC236}">
                  <a16:creationId xmlns:a16="http://schemas.microsoft.com/office/drawing/2014/main" id="{4B6D1295-D95F-4A25-9225-F0533DA574F9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61">
              <a:extLst>
                <a:ext uri="{FF2B5EF4-FFF2-40B4-BE49-F238E27FC236}">
                  <a16:creationId xmlns:a16="http://schemas.microsoft.com/office/drawing/2014/main" id="{7AC0C35F-0BB9-43BD-813E-DCC6FFA90AC7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FF2FF38C-C108-4399-A9D1-6574D59BF54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30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rgbClr val="CDD9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076150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8428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noProof="0"/>
              <a:t>Bitte URL einfügen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842800"/>
            <a:ext cx="3309801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noProof="0"/>
              <a:t>Bitte Schutzvermerk einfügen</a:t>
            </a:r>
          </a:p>
        </p:txBody>
      </p:sp>
      <p:grpSp>
        <p:nvGrpSpPr>
          <p:cNvPr id="57" name="Gruppieren 3">
            <a:extLst>
              <a:ext uri="{FF2B5EF4-FFF2-40B4-BE49-F238E27FC236}">
                <a16:creationId xmlns:a16="http://schemas.microsoft.com/office/drawing/2014/main" id="{B5C21E21-E052-451B-BDE0-E43FC40207DD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8" name="Gerade Verbindung 2">
              <a:extLst>
                <a:ext uri="{FF2B5EF4-FFF2-40B4-BE49-F238E27FC236}">
                  <a16:creationId xmlns:a16="http://schemas.microsoft.com/office/drawing/2014/main" id="{542A1893-0B87-4B3D-B4FA-867FA11CCFB1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5">
              <a:extLst>
                <a:ext uri="{FF2B5EF4-FFF2-40B4-BE49-F238E27FC236}">
                  <a16:creationId xmlns:a16="http://schemas.microsoft.com/office/drawing/2014/main" id="{D2B17994-E420-4CB1-A7CD-E535DF6125C9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6">
              <a:extLst>
                <a:ext uri="{FF2B5EF4-FFF2-40B4-BE49-F238E27FC236}">
                  <a16:creationId xmlns:a16="http://schemas.microsoft.com/office/drawing/2014/main" id="{3BA2E6DD-9A67-4C18-9489-15060673EE43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7">
              <a:extLst>
                <a:ext uri="{FF2B5EF4-FFF2-40B4-BE49-F238E27FC236}">
                  <a16:creationId xmlns:a16="http://schemas.microsoft.com/office/drawing/2014/main" id="{FC1854C1-7B49-4012-B63C-C7279D3A0BBD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8">
              <a:extLst>
                <a:ext uri="{FF2B5EF4-FFF2-40B4-BE49-F238E27FC236}">
                  <a16:creationId xmlns:a16="http://schemas.microsoft.com/office/drawing/2014/main" id="{2FEB3565-E837-4D8B-AED8-B46042FD10E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9">
              <a:extLst>
                <a:ext uri="{FF2B5EF4-FFF2-40B4-BE49-F238E27FC236}">
                  <a16:creationId xmlns:a16="http://schemas.microsoft.com/office/drawing/2014/main" id="{570C7294-614C-4F5A-91AF-34FACC8ECFF5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1">
              <a:extLst>
                <a:ext uri="{FF2B5EF4-FFF2-40B4-BE49-F238E27FC236}">
                  <a16:creationId xmlns:a16="http://schemas.microsoft.com/office/drawing/2014/main" id="{3C1F8C9F-1E38-4E67-B3A4-7466723A1C7C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2">
              <a:extLst>
                <a:ext uri="{FF2B5EF4-FFF2-40B4-BE49-F238E27FC236}">
                  <a16:creationId xmlns:a16="http://schemas.microsoft.com/office/drawing/2014/main" id="{F9A18C70-C103-4919-A489-C738B06158E2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3">
              <a:extLst>
                <a:ext uri="{FF2B5EF4-FFF2-40B4-BE49-F238E27FC236}">
                  <a16:creationId xmlns:a16="http://schemas.microsoft.com/office/drawing/2014/main" id="{3B4FFBD8-5570-4694-AD3B-7F9622D06A3B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4">
              <a:extLst>
                <a:ext uri="{FF2B5EF4-FFF2-40B4-BE49-F238E27FC236}">
                  <a16:creationId xmlns:a16="http://schemas.microsoft.com/office/drawing/2014/main" id="{152FE824-9C18-4A15-829E-30051105BE0F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1">
              <a:extLst>
                <a:ext uri="{FF2B5EF4-FFF2-40B4-BE49-F238E27FC236}">
                  <a16:creationId xmlns:a16="http://schemas.microsoft.com/office/drawing/2014/main" id="{E3275013-E75D-4F50-AD0C-3912741931F5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2">
              <a:extLst>
                <a:ext uri="{FF2B5EF4-FFF2-40B4-BE49-F238E27FC236}">
                  <a16:creationId xmlns:a16="http://schemas.microsoft.com/office/drawing/2014/main" id="{D87FC063-CCB2-449C-A103-4BE8C80A9D75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3">
              <a:extLst>
                <a:ext uri="{FF2B5EF4-FFF2-40B4-BE49-F238E27FC236}">
                  <a16:creationId xmlns:a16="http://schemas.microsoft.com/office/drawing/2014/main" id="{E6F084A6-FD70-4EF7-ABFA-1BB64D778323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4">
              <a:extLst>
                <a:ext uri="{FF2B5EF4-FFF2-40B4-BE49-F238E27FC236}">
                  <a16:creationId xmlns:a16="http://schemas.microsoft.com/office/drawing/2014/main" id="{3F33D5F2-340B-44BA-BC03-E58484FDE98F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5">
              <a:extLst>
                <a:ext uri="{FF2B5EF4-FFF2-40B4-BE49-F238E27FC236}">
                  <a16:creationId xmlns:a16="http://schemas.microsoft.com/office/drawing/2014/main" id="{4621E99B-1945-47FB-989A-0187F4D12218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6">
              <a:extLst>
                <a:ext uri="{FF2B5EF4-FFF2-40B4-BE49-F238E27FC236}">
                  <a16:creationId xmlns:a16="http://schemas.microsoft.com/office/drawing/2014/main" id="{60C014DA-54C8-462C-8719-8CECDF9CF8D3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8">
              <a:extLst>
                <a:ext uri="{FF2B5EF4-FFF2-40B4-BE49-F238E27FC236}">
                  <a16:creationId xmlns:a16="http://schemas.microsoft.com/office/drawing/2014/main" id="{30F01FD5-3B60-430B-BF1C-8294B24D688D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9">
              <a:extLst>
                <a:ext uri="{FF2B5EF4-FFF2-40B4-BE49-F238E27FC236}">
                  <a16:creationId xmlns:a16="http://schemas.microsoft.com/office/drawing/2014/main" id="{5911D1A9-0197-47D4-9568-5BBAD7B9F674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0">
              <a:extLst>
                <a:ext uri="{FF2B5EF4-FFF2-40B4-BE49-F238E27FC236}">
                  <a16:creationId xmlns:a16="http://schemas.microsoft.com/office/drawing/2014/main" id="{0D113640-2E8D-4AC9-BAB9-042241E12AB1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61">
              <a:extLst>
                <a:ext uri="{FF2B5EF4-FFF2-40B4-BE49-F238E27FC236}">
                  <a16:creationId xmlns:a16="http://schemas.microsoft.com/office/drawing/2014/main" id="{97A57D31-8658-4F11-A7BD-660F9160148D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0" name="Graphic 29">
            <a:extLst>
              <a:ext uri="{FF2B5EF4-FFF2-40B4-BE49-F238E27FC236}">
                <a16:creationId xmlns:a16="http://schemas.microsoft.com/office/drawing/2014/main" id="{BB2AFED3-889B-46B7-822E-B28370DA38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720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>
            <a:extLst>
              <a:ext uri="{FF2B5EF4-FFF2-40B4-BE49-F238E27FC236}">
                <a16:creationId xmlns:a16="http://schemas.microsoft.com/office/drawing/2014/main" id="{D7AA24FD-E10D-4EE7-B628-97985CCA83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504550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grpSp>
        <p:nvGrpSpPr>
          <p:cNvPr id="58" name="Gruppieren 3">
            <a:extLst>
              <a:ext uri="{FF2B5EF4-FFF2-40B4-BE49-F238E27FC236}">
                <a16:creationId xmlns:a16="http://schemas.microsoft.com/office/drawing/2014/main" id="{BD5BCD77-BA50-4823-BF74-DCB3C393B6EB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9" name="Gerade Verbindung 2">
              <a:extLst>
                <a:ext uri="{FF2B5EF4-FFF2-40B4-BE49-F238E27FC236}">
                  <a16:creationId xmlns:a16="http://schemas.microsoft.com/office/drawing/2014/main" id="{39DE1F75-7EAC-4AE1-A1F1-3D336A0E548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5">
              <a:extLst>
                <a:ext uri="{FF2B5EF4-FFF2-40B4-BE49-F238E27FC236}">
                  <a16:creationId xmlns:a16="http://schemas.microsoft.com/office/drawing/2014/main" id="{CD3CF657-D2AA-4AEA-A8BD-4557FD021A62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6">
              <a:extLst>
                <a:ext uri="{FF2B5EF4-FFF2-40B4-BE49-F238E27FC236}">
                  <a16:creationId xmlns:a16="http://schemas.microsoft.com/office/drawing/2014/main" id="{15358091-C9B5-409A-ABE7-8943FA096D51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7">
              <a:extLst>
                <a:ext uri="{FF2B5EF4-FFF2-40B4-BE49-F238E27FC236}">
                  <a16:creationId xmlns:a16="http://schemas.microsoft.com/office/drawing/2014/main" id="{3F2A3BC5-9F69-44A6-941C-732A0C74E8D2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8">
              <a:extLst>
                <a:ext uri="{FF2B5EF4-FFF2-40B4-BE49-F238E27FC236}">
                  <a16:creationId xmlns:a16="http://schemas.microsoft.com/office/drawing/2014/main" id="{4A607B77-430E-4134-A72E-014B812B5A4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9">
              <a:extLst>
                <a:ext uri="{FF2B5EF4-FFF2-40B4-BE49-F238E27FC236}">
                  <a16:creationId xmlns:a16="http://schemas.microsoft.com/office/drawing/2014/main" id="{542E4096-855C-4A12-BDFF-C88A88F33884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1">
              <a:extLst>
                <a:ext uri="{FF2B5EF4-FFF2-40B4-BE49-F238E27FC236}">
                  <a16:creationId xmlns:a16="http://schemas.microsoft.com/office/drawing/2014/main" id="{B8DE5CEB-734F-4215-B6F9-0ABCA29BDF1E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2">
              <a:extLst>
                <a:ext uri="{FF2B5EF4-FFF2-40B4-BE49-F238E27FC236}">
                  <a16:creationId xmlns:a16="http://schemas.microsoft.com/office/drawing/2014/main" id="{80596428-F011-48A8-9160-3D789DEFA4C1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3">
              <a:extLst>
                <a:ext uri="{FF2B5EF4-FFF2-40B4-BE49-F238E27FC236}">
                  <a16:creationId xmlns:a16="http://schemas.microsoft.com/office/drawing/2014/main" id="{F892447A-7F7A-43E0-8ECE-1B87271919C2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4">
              <a:extLst>
                <a:ext uri="{FF2B5EF4-FFF2-40B4-BE49-F238E27FC236}">
                  <a16:creationId xmlns:a16="http://schemas.microsoft.com/office/drawing/2014/main" id="{249266EC-7EDE-43E9-9C80-CE79D23635D0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1">
              <a:extLst>
                <a:ext uri="{FF2B5EF4-FFF2-40B4-BE49-F238E27FC236}">
                  <a16:creationId xmlns:a16="http://schemas.microsoft.com/office/drawing/2014/main" id="{DD5A1A80-775D-474E-9524-5E01192FBDAC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2">
              <a:extLst>
                <a:ext uri="{FF2B5EF4-FFF2-40B4-BE49-F238E27FC236}">
                  <a16:creationId xmlns:a16="http://schemas.microsoft.com/office/drawing/2014/main" id="{65B8B91E-7E33-482E-9508-3D680CA09A66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3">
              <a:extLst>
                <a:ext uri="{FF2B5EF4-FFF2-40B4-BE49-F238E27FC236}">
                  <a16:creationId xmlns:a16="http://schemas.microsoft.com/office/drawing/2014/main" id="{510ED15E-98B1-4478-AE8A-73089FCF451A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4">
              <a:extLst>
                <a:ext uri="{FF2B5EF4-FFF2-40B4-BE49-F238E27FC236}">
                  <a16:creationId xmlns:a16="http://schemas.microsoft.com/office/drawing/2014/main" id="{B48E4357-1180-48FC-84D9-36EBE6985D6E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5">
              <a:extLst>
                <a:ext uri="{FF2B5EF4-FFF2-40B4-BE49-F238E27FC236}">
                  <a16:creationId xmlns:a16="http://schemas.microsoft.com/office/drawing/2014/main" id="{95549C3E-BD52-46C1-8C7A-FFE9C6951D7A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6">
              <a:extLst>
                <a:ext uri="{FF2B5EF4-FFF2-40B4-BE49-F238E27FC236}">
                  <a16:creationId xmlns:a16="http://schemas.microsoft.com/office/drawing/2014/main" id="{0413DB51-30FE-43D6-94E2-30FEE41136F4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8">
              <a:extLst>
                <a:ext uri="{FF2B5EF4-FFF2-40B4-BE49-F238E27FC236}">
                  <a16:creationId xmlns:a16="http://schemas.microsoft.com/office/drawing/2014/main" id="{B89C61C4-0B3F-482D-88FA-DE0C43A3237C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9">
              <a:extLst>
                <a:ext uri="{FF2B5EF4-FFF2-40B4-BE49-F238E27FC236}">
                  <a16:creationId xmlns:a16="http://schemas.microsoft.com/office/drawing/2014/main" id="{CA68E1D7-F6A6-4C6E-BA26-59968E11ADB4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60">
              <a:extLst>
                <a:ext uri="{FF2B5EF4-FFF2-40B4-BE49-F238E27FC236}">
                  <a16:creationId xmlns:a16="http://schemas.microsoft.com/office/drawing/2014/main" id="{D1FD3672-36F2-48F7-962B-C80DDF73093F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61">
              <a:extLst>
                <a:ext uri="{FF2B5EF4-FFF2-40B4-BE49-F238E27FC236}">
                  <a16:creationId xmlns:a16="http://schemas.microsoft.com/office/drawing/2014/main" id="{5BEB1B31-6A4A-410A-A701-D0DA609DFF18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963657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rgbClr val="CDD9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504550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grpSp>
        <p:nvGrpSpPr>
          <p:cNvPr id="55" name="Gruppieren 3">
            <a:extLst>
              <a:ext uri="{FF2B5EF4-FFF2-40B4-BE49-F238E27FC236}">
                <a16:creationId xmlns:a16="http://schemas.microsoft.com/office/drawing/2014/main" id="{67A936E5-4E87-4D4E-B02A-03E0AEA93B5A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6" name="Gerade Verbindung 2">
              <a:extLst>
                <a:ext uri="{FF2B5EF4-FFF2-40B4-BE49-F238E27FC236}">
                  <a16:creationId xmlns:a16="http://schemas.microsoft.com/office/drawing/2014/main" id="{FCD5DE54-D39F-4976-BBC7-BF08F3DB645F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35">
              <a:extLst>
                <a:ext uri="{FF2B5EF4-FFF2-40B4-BE49-F238E27FC236}">
                  <a16:creationId xmlns:a16="http://schemas.microsoft.com/office/drawing/2014/main" id="{98E8F9D4-5DD0-4E97-B77C-F79F41EB1D2E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6">
              <a:extLst>
                <a:ext uri="{FF2B5EF4-FFF2-40B4-BE49-F238E27FC236}">
                  <a16:creationId xmlns:a16="http://schemas.microsoft.com/office/drawing/2014/main" id="{2D8929E1-CCCF-42FD-99AD-B1E494118600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7">
              <a:extLst>
                <a:ext uri="{FF2B5EF4-FFF2-40B4-BE49-F238E27FC236}">
                  <a16:creationId xmlns:a16="http://schemas.microsoft.com/office/drawing/2014/main" id="{7EF8A848-6DDF-43EE-A69F-118A5AC15025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8">
              <a:extLst>
                <a:ext uri="{FF2B5EF4-FFF2-40B4-BE49-F238E27FC236}">
                  <a16:creationId xmlns:a16="http://schemas.microsoft.com/office/drawing/2014/main" id="{A33989AA-85FD-4533-B7BD-698478A88BE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9">
              <a:extLst>
                <a:ext uri="{FF2B5EF4-FFF2-40B4-BE49-F238E27FC236}">
                  <a16:creationId xmlns:a16="http://schemas.microsoft.com/office/drawing/2014/main" id="{F6B80195-D556-4A35-8FC0-726934E2190D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41">
              <a:extLst>
                <a:ext uri="{FF2B5EF4-FFF2-40B4-BE49-F238E27FC236}">
                  <a16:creationId xmlns:a16="http://schemas.microsoft.com/office/drawing/2014/main" id="{429F0FE6-B7DD-4864-A2FB-5F41740572CF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2">
              <a:extLst>
                <a:ext uri="{FF2B5EF4-FFF2-40B4-BE49-F238E27FC236}">
                  <a16:creationId xmlns:a16="http://schemas.microsoft.com/office/drawing/2014/main" id="{87DA4935-8736-4C35-80BE-04976EBDE6F2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3">
              <a:extLst>
                <a:ext uri="{FF2B5EF4-FFF2-40B4-BE49-F238E27FC236}">
                  <a16:creationId xmlns:a16="http://schemas.microsoft.com/office/drawing/2014/main" id="{D0DD13A8-3679-4EC7-8FE4-AF76C8436191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4">
              <a:extLst>
                <a:ext uri="{FF2B5EF4-FFF2-40B4-BE49-F238E27FC236}">
                  <a16:creationId xmlns:a16="http://schemas.microsoft.com/office/drawing/2014/main" id="{0E07B00E-9113-4DF5-A715-0808449E1A3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51">
              <a:extLst>
                <a:ext uri="{FF2B5EF4-FFF2-40B4-BE49-F238E27FC236}">
                  <a16:creationId xmlns:a16="http://schemas.microsoft.com/office/drawing/2014/main" id="{13B9A954-C393-4182-95D3-A17AA3493A8E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2">
              <a:extLst>
                <a:ext uri="{FF2B5EF4-FFF2-40B4-BE49-F238E27FC236}">
                  <a16:creationId xmlns:a16="http://schemas.microsoft.com/office/drawing/2014/main" id="{985DAED2-26DA-4F04-92A0-B768CA2AB0B0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3">
              <a:extLst>
                <a:ext uri="{FF2B5EF4-FFF2-40B4-BE49-F238E27FC236}">
                  <a16:creationId xmlns:a16="http://schemas.microsoft.com/office/drawing/2014/main" id="{BC6D51B5-37A1-4194-8D96-14C02849060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4">
              <a:extLst>
                <a:ext uri="{FF2B5EF4-FFF2-40B4-BE49-F238E27FC236}">
                  <a16:creationId xmlns:a16="http://schemas.microsoft.com/office/drawing/2014/main" id="{6AC0E245-7723-4A6E-AEAA-BF3060C1A149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5">
              <a:extLst>
                <a:ext uri="{FF2B5EF4-FFF2-40B4-BE49-F238E27FC236}">
                  <a16:creationId xmlns:a16="http://schemas.microsoft.com/office/drawing/2014/main" id="{A0DD38BB-5EF1-4A3F-948E-662C1B7CB89D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6">
              <a:extLst>
                <a:ext uri="{FF2B5EF4-FFF2-40B4-BE49-F238E27FC236}">
                  <a16:creationId xmlns:a16="http://schemas.microsoft.com/office/drawing/2014/main" id="{75F2ACB7-9CDD-4486-AD1E-77BF99F02257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8">
              <a:extLst>
                <a:ext uri="{FF2B5EF4-FFF2-40B4-BE49-F238E27FC236}">
                  <a16:creationId xmlns:a16="http://schemas.microsoft.com/office/drawing/2014/main" id="{E8532989-9746-468E-851B-F15F76BEE11D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9">
              <a:extLst>
                <a:ext uri="{FF2B5EF4-FFF2-40B4-BE49-F238E27FC236}">
                  <a16:creationId xmlns:a16="http://schemas.microsoft.com/office/drawing/2014/main" id="{4E558AC0-663F-44C3-9A39-2B4B9708BF49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60">
              <a:extLst>
                <a:ext uri="{FF2B5EF4-FFF2-40B4-BE49-F238E27FC236}">
                  <a16:creationId xmlns:a16="http://schemas.microsoft.com/office/drawing/2014/main" id="{4F6D9557-6FA1-4AA4-8FC0-18330D61FF51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1">
              <a:extLst>
                <a:ext uri="{FF2B5EF4-FFF2-40B4-BE49-F238E27FC236}">
                  <a16:creationId xmlns:a16="http://schemas.microsoft.com/office/drawing/2014/main" id="{FA6C7DDE-76D5-4162-BA68-F4BA41EE884F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82C8778A-AABC-4579-9EAC-567D95640AA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68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6736" y="45045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56" name="Gruppieren 3">
            <a:extLst>
              <a:ext uri="{FF2B5EF4-FFF2-40B4-BE49-F238E27FC236}">
                <a16:creationId xmlns:a16="http://schemas.microsoft.com/office/drawing/2014/main" id="{2DBD9D13-C7BA-4902-80AC-C175AA369278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7" name="Gerade Verbindung 2">
              <a:extLst>
                <a:ext uri="{FF2B5EF4-FFF2-40B4-BE49-F238E27FC236}">
                  <a16:creationId xmlns:a16="http://schemas.microsoft.com/office/drawing/2014/main" id="{5E9108FC-3BE8-4A21-B38F-722C6B72455D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5">
              <a:extLst>
                <a:ext uri="{FF2B5EF4-FFF2-40B4-BE49-F238E27FC236}">
                  <a16:creationId xmlns:a16="http://schemas.microsoft.com/office/drawing/2014/main" id="{44948974-4874-4B2E-AF2E-DDA0565582B3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6">
              <a:extLst>
                <a:ext uri="{FF2B5EF4-FFF2-40B4-BE49-F238E27FC236}">
                  <a16:creationId xmlns:a16="http://schemas.microsoft.com/office/drawing/2014/main" id="{9B0ABD24-3B0B-40A3-B1B7-B029B37BDAD1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7">
              <a:extLst>
                <a:ext uri="{FF2B5EF4-FFF2-40B4-BE49-F238E27FC236}">
                  <a16:creationId xmlns:a16="http://schemas.microsoft.com/office/drawing/2014/main" id="{2B5C2D81-8B27-4B35-9067-2C4ED1D5FDDC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8">
              <a:extLst>
                <a:ext uri="{FF2B5EF4-FFF2-40B4-BE49-F238E27FC236}">
                  <a16:creationId xmlns:a16="http://schemas.microsoft.com/office/drawing/2014/main" id="{E5F67A5B-71A9-4F4D-B918-6ECD06E1C93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9">
              <a:extLst>
                <a:ext uri="{FF2B5EF4-FFF2-40B4-BE49-F238E27FC236}">
                  <a16:creationId xmlns:a16="http://schemas.microsoft.com/office/drawing/2014/main" id="{8849258C-47AC-4785-93CF-1F9EF4CB8AD3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1">
              <a:extLst>
                <a:ext uri="{FF2B5EF4-FFF2-40B4-BE49-F238E27FC236}">
                  <a16:creationId xmlns:a16="http://schemas.microsoft.com/office/drawing/2014/main" id="{85F601A3-7B19-4981-99FD-91F8760D452D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2">
              <a:extLst>
                <a:ext uri="{FF2B5EF4-FFF2-40B4-BE49-F238E27FC236}">
                  <a16:creationId xmlns:a16="http://schemas.microsoft.com/office/drawing/2014/main" id="{A94A2DA0-63A2-4633-BD01-C4B7F293AA6E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3">
              <a:extLst>
                <a:ext uri="{FF2B5EF4-FFF2-40B4-BE49-F238E27FC236}">
                  <a16:creationId xmlns:a16="http://schemas.microsoft.com/office/drawing/2014/main" id="{9EABF92E-7FE6-47A8-A4E3-5D1D0669A689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4">
              <a:extLst>
                <a:ext uri="{FF2B5EF4-FFF2-40B4-BE49-F238E27FC236}">
                  <a16:creationId xmlns:a16="http://schemas.microsoft.com/office/drawing/2014/main" id="{23CE0404-5878-4DE5-8358-E01FB0677CA8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1">
              <a:extLst>
                <a:ext uri="{FF2B5EF4-FFF2-40B4-BE49-F238E27FC236}">
                  <a16:creationId xmlns:a16="http://schemas.microsoft.com/office/drawing/2014/main" id="{58D846A9-53E2-4E41-916B-57627E5211F3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2">
              <a:extLst>
                <a:ext uri="{FF2B5EF4-FFF2-40B4-BE49-F238E27FC236}">
                  <a16:creationId xmlns:a16="http://schemas.microsoft.com/office/drawing/2014/main" id="{6D896C3B-7933-448B-9942-68F0FB9C28CA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3">
              <a:extLst>
                <a:ext uri="{FF2B5EF4-FFF2-40B4-BE49-F238E27FC236}">
                  <a16:creationId xmlns:a16="http://schemas.microsoft.com/office/drawing/2014/main" id="{DD7497DB-69B6-4F9D-A69E-AA071A323083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4">
              <a:extLst>
                <a:ext uri="{FF2B5EF4-FFF2-40B4-BE49-F238E27FC236}">
                  <a16:creationId xmlns:a16="http://schemas.microsoft.com/office/drawing/2014/main" id="{2BB91441-E174-420A-B2C2-F8C02123E5D4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5">
              <a:extLst>
                <a:ext uri="{FF2B5EF4-FFF2-40B4-BE49-F238E27FC236}">
                  <a16:creationId xmlns:a16="http://schemas.microsoft.com/office/drawing/2014/main" id="{ED125660-542E-49C3-A724-6B7E5A36FCCA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6">
              <a:extLst>
                <a:ext uri="{FF2B5EF4-FFF2-40B4-BE49-F238E27FC236}">
                  <a16:creationId xmlns:a16="http://schemas.microsoft.com/office/drawing/2014/main" id="{C4A533E1-13D1-4EF2-97EC-EA0A17B4C20E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4913BC20-3066-4FFE-841C-A40055CD8EA3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9">
              <a:extLst>
                <a:ext uri="{FF2B5EF4-FFF2-40B4-BE49-F238E27FC236}">
                  <a16:creationId xmlns:a16="http://schemas.microsoft.com/office/drawing/2014/main" id="{F673A3B3-933F-4A26-A992-0CD9F7F70901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0">
              <a:extLst>
                <a:ext uri="{FF2B5EF4-FFF2-40B4-BE49-F238E27FC236}">
                  <a16:creationId xmlns:a16="http://schemas.microsoft.com/office/drawing/2014/main" id="{ADE1F8DD-11C3-44FE-BC22-98D0AC6B3F58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1">
              <a:extLst>
                <a:ext uri="{FF2B5EF4-FFF2-40B4-BE49-F238E27FC236}">
                  <a16:creationId xmlns:a16="http://schemas.microsoft.com/office/drawing/2014/main" id="{09557594-1A33-4C65-A8B4-403683341475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D3767B3A-7EA6-480A-9D18-59DB67F6D04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995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6736" y="45045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56" name="Gruppieren 3">
            <a:extLst>
              <a:ext uri="{FF2B5EF4-FFF2-40B4-BE49-F238E27FC236}">
                <a16:creationId xmlns:a16="http://schemas.microsoft.com/office/drawing/2014/main" id="{A9F4DD81-1824-4CA9-9A76-3D8F476ACB66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7" name="Gerade Verbindung 2">
              <a:extLst>
                <a:ext uri="{FF2B5EF4-FFF2-40B4-BE49-F238E27FC236}">
                  <a16:creationId xmlns:a16="http://schemas.microsoft.com/office/drawing/2014/main" id="{82346EBA-CC4A-4A93-8983-BB32AE7F6B23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5">
              <a:extLst>
                <a:ext uri="{FF2B5EF4-FFF2-40B4-BE49-F238E27FC236}">
                  <a16:creationId xmlns:a16="http://schemas.microsoft.com/office/drawing/2014/main" id="{029C906A-3325-4CC8-88EC-7767B5742FDC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6">
              <a:extLst>
                <a:ext uri="{FF2B5EF4-FFF2-40B4-BE49-F238E27FC236}">
                  <a16:creationId xmlns:a16="http://schemas.microsoft.com/office/drawing/2014/main" id="{C287DCC2-2EEA-4421-BF9D-874D4FE223F6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7">
              <a:extLst>
                <a:ext uri="{FF2B5EF4-FFF2-40B4-BE49-F238E27FC236}">
                  <a16:creationId xmlns:a16="http://schemas.microsoft.com/office/drawing/2014/main" id="{81247FFA-AA1D-4EDE-91DF-3880896BCF64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8">
              <a:extLst>
                <a:ext uri="{FF2B5EF4-FFF2-40B4-BE49-F238E27FC236}">
                  <a16:creationId xmlns:a16="http://schemas.microsoft.com/office/drawing/2014/main" id="{F4FBBF36-A400-4BD3-B932-2C9EF7CFCDF8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9">
              <a:extLst>
                <a:ext uri="{FF2B5EF4-FFF2-40B4-BE49-F238E27FC236}">
                  <a16:creationId xmlns:a16="http://schemas.microsoft.com/office/drawing/2014/main" id="{6E6BBAAE-55F5-4DE8-9D07-79BAC8F8079A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1">
              <a:extLst>
                <a:ext uri="{FF2B5EF4-FFF2-40B4-BE49-F238E27FC236}">
                  <a16:creationId xmlns:a16="http://schemas.microsoft.com/office/drawing/2014/main" id="{C8BAB7DA-C1EA-4B5A-A868-7B7417D32703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2">
              <a:extLst>
                <a:ext uri="{FF2B5EF4-FFF2-40B4-BE49-F238E27FC236}">
                  <a16:creationId xmlns:a16="http://schemas.microsoft.com/office/drawing/2014/main" id="{6A872FA5-83EA-4F9B-AD80-66FF3F175F45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3">
              <a:extLst>
                <a:ext uri="{FF2B5EF4-FFF2-40B4-BE49-F238E27FC236}">
                  <a16:creationId xmlns:a16="http://schemas.microsoft.com/office/drawing/2014/main" id="{EEF9D231-92D9-4603-A715-FC2450442355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4">
              <a:extLst>
                <a:ext uri="{FF2B5EF4-FFF2-40B4-BE49-F238E27FC236}">
                  <a16:creationId xmlns:a16="http://schemas.microsoft.com/office/drawing/2014/main" id="{2FCC491B-515F-45E2-92D2-A23B06828A0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1">
              <a:extLst>
                <a:ext uri="{FF2B5EF4-FFF2-40B4-BE49-F238E27FC236}">
                  <a16:creationId xmlns:a16="http://schemas.microsoft.com/office/drawing/2014/main" id="{4BB0C3DA-B78A-4F51-8271-9DEF2548B887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2">
              <a:extLst>
                <a:ext uri="{FF2B5EF4-FFF2-40B4-BE49-F238E27FC236}">
                  <a16:creationId xmlns:a16="http://schemas.microsoft.com/office/drawing/2014/main" id="{39A45B8B-3B19-49A3-AC48-D8901BD37A1F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3">
              <a:extLst>
                <a:ext uri="{FF2B5EF4-FFF2-40B4-BE49-F238E27FC236}">
                  <a16:creationId xmlns:a16="http://schemas.microsoft.com/office/drawing/2014/main" id="{1678458E-B47B-4091-94C6-C2720FADE038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4">
              <a:extLst>
                <a:ext uri="{FF2B5EF4-FFF2-40B4-BE49-F238E27FC236}">
                  <a16:creationId xmlns:a16="http://schemas.microsoft.com/office/drawing/2014/main" id="{07BC0D7B-1F95-413F-A557-0524669DB149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5">
              <a:extLst>
                <a:ext uri="{FF2B5EF4-FFF2-40B4-BE49-F238E27FC236}">
                  <a16:creationId xmlns:a16="http://schemas.microsoft.com/office/drawing/2014/main" id="{52EF2C5A-4C98-46D2-B34F-92EFCE72BD18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6">
              <a:extLst>
                <a:ext uri="{FF2B5EF4-FFF2-40B4-BE49-F238E27FC236}">
                  <a16:creationId xmlns:a16="http://schemas.microsoft.com/office/drawing/2014/main" id="{0A94D1EF-687E-42C8-B5EA-AA164FA8B918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BFCA3F0B-FCCF-44EE-A991-0E1D964E2685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9">
              <a:extLst>
                <a:ext uri="{FF2B5EF4-FFF2-40B4-BE49-F238E27FC236}">
                  <a16:creationId xmlns:a16="http://schemas.microsoft.com/office/drawing/2014/main" id="{536EEDB6-7E36-4E89-BA8D-8997CE8261F7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0">
              <a:extLst>
                <a:ext uri="{FF2B5EF4-FFF2-40B4-BE49-F238E27FC236}">
                  <a16:creationId xmlns:a16="http://schemas.microsoft.com/office/drawing/2014/main" id="{154F5266-2FC2-4CE8-A2A6-66383D28B6FB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1">
              <a:extLst>
                <a:ext uri="{FF2B5EF4-FFF2-40B4-BE49-F238E27FC236}">
                  <a16:creationId xmlns:a16="http://schemas.microsoft.com/office/drawing/2014/main" id="{FC54F650-E97D-43DD-8CC3-34E072AE20C7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1233F557-8672-4915-B6FB-BE87693FF4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77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693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6571" y="1414800"/>
            <a:ext cx="7535429" cy="47520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de-DE" noProof="0"/>
              <a:t>Inhaltsverzeichnis / Kontakt durch Klicken bearbeiten</a:t>
            </a:r>
          </a:p>
          <a:p>
            <a:pPr lvl="1"/>
            <a:r>
              <a:rPr lang="de-DE" noProof="0"/>
              <a:t>Kapitel</a:t>
            </a:r>
          </a:p>
          <a:p>
            <a:pPr lvl="2"/>
            <a:r>
              <a:rPr lang="de-DE" noProof="0"/>
              <a:t>Aktives Kapitel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800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840541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26737" y="1414801"/>
            <a:ext cx="3885890" cy="4750549"/>
          </a:xfrm>
        </p:spPr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6570" y="1414800"/>
            <a:ext cx="7535430" cy="47520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de-DE" noProof="0"/>
              <a:t>Inhaltsverzeichnis / Kontakt durch Klicken bearbeiten</a:t>
            </a:r>
          </a:p>
          <a:p>
            <a:pPr lvl="1"/>
            <a:r>
              <a:rPr lang="de-DE" noProof="0"/>
              <a:t>Kapitel</a:t>
            </a:r>
          </a:p>
          <a:p>
            <a:pPr lvl="2"/>
            <a:r>
              <a:rPr lang="de-DE" noProof="0"/>
              <a:t>Aktives Kapitel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1540440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66243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A31C5F9-CF0C-4D4E-88EA-D62D2332E2B2}"/>
              </a:ext>
            </a:extLst>
          </p:cNvPr>
          <p:cNvSpPr/>
          <p:nvPr userDrawn="1"/>
        </p:nvSpPr>
        <p:spPr bwMode="auto">
          <a:xfrm>
            <a:off x="0" y="1414800"/>
            <a:ext cx="12192000" cy="4752000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2B0309-19D5-47DB-98BB-33A9137943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238295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7647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72984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1"/>
            <a:ext cx="1219200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0451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29" name="Gruppieren 3">
            <a:extLst>
              <a:ext uri="{FF2B5EF4-FFF2-40B4-BE49-F238E27FC236}">
                <a16:creationId xmlns:a16="http://schemas.microsoft.com/office/drawing/2014/main" id="{A815A094-7870-4106-ABE7-861C0DC7C377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0" name="Gerade Verbindung 2">
              <a:extLst>
                <a:ext uri="{FF2B5EF4-FFF2-40B4-BE49-F238E27FC236}">
                  <a16:creationId xmlns:a16="http://schemas.microsoft.com/office/drawing/2014/main" id="{51F83399-ED6C-435C-82B0-AB9C3983078A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5">
              <a:extLst>
                <a:ext uri="{FF2B5EF4-FFF2-40B4-BE49-F238E27FC236}">
                  <a16:creationId xmlns:a16="http://schemas.microsoft.com/office/drawing/2014/main" id="{849F7B33-31B3-43FC-8BD4-B46920285957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6">
              <a:extLst>
                <a:ext uri="{FF2B5EF4-FFF2-40B4-BE49-F238E27FC236}">
                  <a16:creationId xmlns:a16="http://schemas.microsoft.com/office/drawing/2014/main" id="{E432B6DC-E69E-40E8-8406-B0E075725727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7">
              <a:extLst>
                <a:ext uri="{FF2B5EF4-FFF2-40B4-BE49-F238E27FC236}">
                  <a16:creationId xmlns:a16="http://schemas.microsoft.com/office/drawing/2014/main" id="{637F8B10-DBE5-4A3B-9DCE-EC91232064CF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8">
              <a:extLst>
                <a:ext uri="{FF2B5EF4-FFF2-40B4-BE49-F238E27FC236}">
                  <a16:creationId xmlns:a16="http://schemas.microsoft.com/office/drawing/2014/main" id="{753DB954-2D04-4ADA-A802-FDBAD5DDD69C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9">
              <a:extLst>
                <a:ext uri="{FF2B5EF4-FFF2-40B4-BE49-F238E27FC236}">
                  <a16:creationId xmlns:a16="http://schemas.microsoft.com/office/drawing/2014/main" id="{FE4C149D-3FD2-426F-A012-C0E45E18C6F9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41">
              <a:extLst>
                <a:ext uri="{FF2B5EF4-FFF2-40B4-BE49-F238E27FC236}">
                  <a16:creationId xmlns:a16="http://schemas.microsoft.com/office/drawing/2014/main" id="{77A3FA32-B2BB-4270-9CCB-612B2A349DA4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42">
              <a:extLst>
                <a:ext uri="{FF2B5EF4-FFF2-40B4-BE49-F238E27FC236}">
                  <a16:creationId xmlns:a16="http://schemas.microsoft.com/office/drawing/2014/main" id="{3B3F13BC-DCC3-4333-982C-C73B8B49D3F7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43">
              <a:extLst>
                <a:ext uri="{FF2B5EF4-FFF2-40B4-BE49-F238E27FC236}">
                  <a16:creationId xmlns:a16="http://schemas.microsoft.com/office/drawing/2014/main" id="{4ED9EE88-6697-4932-AE68-5B45F6BADDD3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44">
              <a:extLst>
                <a:ext uri="{FF2B5EF4-FFF2-40B4-BE49-F238E27FC236}">
                  <a16:creationId xmlns:a16="http://schemas.microsoft.com/office/drawing/2014/main" id="{B1C92689-3E2A-49B9-9A0F-926E792035CA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51">
              <a:extLst>
                <a:ext uri="{FF2B5EF4-FFF2-40B4-BE49-F238E27FC236}">
                  <a16:creationId xmlns:a16="http://schemas.microsoft.com/office/drawing/2014/main" id="{6DBD38C4-8D80-4C55-B7AB-2FE918F1054B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52">
              <a:extLst>
                <a:ext uri="{FF2B5EF4-FFF2-40B4-BE49-F238E27FC236}">
                  <a16:creationId xmlns:a16="http://schemas.microsoft.com/office/drawing/2014/main" id="{B1A47CCC-2E6F-46C2-A18E-40559A6A1A3E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3">
              <a:extLst>
                <a:ext uri="{FF2B5EF4-FFF2-40B4-BE49-F238E27FC236}">
                  <a16:creationId xmlns:a16="http://schemas.microsoft.com/office/drawing/2014/main" id="{256BFE9F-C104-4176-AF7A-22E3F6CF7A8F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4">
              <a:extLst>
                <a:ext uri="{FF2B5EF4-FFF2-40B4-BE49-F238E27FC236}">
                  <a16:creationId xmlns:a16="http://schemas.microsoft.com/office/drawing/2014/main" id="{18891422-8EB1-490B-90C4-2C0A620FA99E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5">
              <a:extLst>
                <a:ext uri="{FF2B5EF4-FFF2-40B4-BE49-F238E27FC236}">
                  <a16:creationId xmlns:a16="http://schemas.microsoft.com/office/drawing/2014/main" id="{37011BF3-55C8-43DC-BB2A-1DC8DBF615F2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56">
              <a:extLst>
                <a:ext uri="{FF2B5EF4-FFF2-40B4-BE49-F238E27FC236}">
                  <a16:creationId xmlns:a16="http://schemas.microsoft.com/office/drawing/2014/main" id="{462124C2-5745-46C2-8704-13C9D8A1E476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58">
              <a:extLst>
                <a:ext uri="{FF2B5EF4-FFF2-40B4-BE49-F238E27FC236}">
                  <a16:creationId xmlns:a16="http://schemas.microsoft.com/office/drawing/2014/main" id="{74A64262-1A9A-4BDE-BE94-AA7EA6FF8649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59">
              <a:extLst>
                <a:ext uri="{FF2B5EF4-FFF2-40B4-BE49-F238E27FC236}">
                  <a16:creationId xmlns:a16="http://schemas.microsoft.com/office/drawing/2014/main" id="{9C882561-F89E-4E12-BDC4-DC165FB429F4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0">
              <a:extLst>
                <a:ext uri="{FF2B5EF4-FFF2-40B4-BE49-F238E27FC236}">
                  <a16:creationId xmlns:a16="http://schemas.microsoft.com/office/drawing/2014/main" id="{FA487A59-1DFE-4764-8978-19221DE13830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1">
              <a:extLst>
                <a:ext uri="{FF2B5EF4-FFF2-40B4-BE49-F238E27FC236}">
                  <a16:creationId xmlns:a16="http://schemas.microsoft.com/office/drawing/2014/main" id="{82062938-441A-4E34-B2AC-640B62F0E377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3993652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1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799" noProof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799" noProof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31" name="Gruppieren 3">
            <a:extLst>
              <a:ext uri="{FF2B5EF4-FFF2-40B4-BE49-F238E27FC236}">
                <a16:creationId xmlns:a16="http://schemas.microsoft.com/office/drawing/2014/main" id="{09087CB9-8AA1-4CA2-93EE-1A02F64516CD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2" name="Gerade Verbindung 2">
              <a:extLst>
                <a:ext uri="{FF2B5EF4-FFF2-40B4-BE49-F238E27FC236}">
                  <a16:creationId xmlns:a16="http://schemas.microsoft.com/office/drawing/2014/main" id="{6CD62B08-37BA-48C3-9C29-424173300F0E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5">
              <a:extLst>
                <a:ext uri="{FF2B5EF4-FFF2-40B4-BE49-F238E27FC236}">
                  <a16:creationId xmlns:a16="http://schemas.microsoft.com/office/drawing/2014/main" id="{768B41C0-A7A5-4DCF-A966-EE4BA5908C82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6">
              <a:extLst>
                <a:ext uri="{FF2B5EF4-FFF2-40B4-BE49-F238E27FC236}">
                  <a16:creationId xmlns:a16="http://schemas.microsoft.com/office/drawing/2014/main" id="{B1C2E67D-2982-449F-872B-7724F9D9E90D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7">
              <a:extLst>
                <a:ext uri="{FF2B5EF4-FFF2-40B4-BE49-F238E27FC236}">
                  <a16:creationId xmlns:a16="http://schemas.microsoft.com/office/drawing/2014/main" id="{DAB1CCF2-1E0F-44B6-B185-35C994E1E30E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8">
              <a:extLst>
                <a:ext uri="{FF2B5EF4-FFF2-40B4-BE49-F238E27FC236}">
                  <a16:creationId xmlns:a16="http://schemas.microsoft.com/office/drawing/2014/main" id="{B405A61B-9C32-4A9D-91B1-1BD064BC7A4C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9">
              <a:extLst>
                <a:ext uri="{FF2B5EF4-FFF2-40B4-BE49-F238E27FC236}">
                  <a16:creationId xmlns:a16="http://schemas.microsoft.com/office/drawing/2014/main" id="{53398201-4F88-4E3F-85F0-0752C572F91D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41">
              <a:extLst>
                <a:ext uri="{FF2B5EF4-FFF2-40B4-BE49-F238E27FC236}">
                  <a16:creationId xmlns:a16="http://schemas.microsoft.com/office/drawing/2014/main" id="{F5FBD854-20C9-412D-95CF-4E74C911198C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42">
              <a:extLst>
                <a:ext uri="{FF2B5EF4-FFF2-40B4-BE49-F238E27FC236}">
                  <a16:creationId xmlns:a16="http://schemas.microsoft.com/office/drawing/2014/main" id="{A695572E-FC1D-4BC9-B6E1-59F67074A93F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3">
              <a:extLst>
                <a:ext uri="{FF2B5EF4-FFF2-40B4-BE49-F238E27FC236}">
                  <a16:creationId xmlns:a16="http://schemas.microsoft.com/office/drawing/2014/main" id="{EB49C944-F940-4E2F-865A-2700EC6E604F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4">
              <a:extLst>
                <a:ext uri="{FF2B5EF4-FFF2-40B4-BE49-F238E27FC236}">
                  <a16:creationId xmlns:a16="http://schemas.microsoft.com/office/drawing/2014/main" id="{81295EEA-DBEA-44AF-B3CC-002CA8AF6AEC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1">
              <a:extLst>
                <a:ext uri="{FF2B5EF4-FFF2-40B4-BE49-F238E27FC236}">
                  <a16:creationId xmlns:a16="http://schemas.microsoft.com/office/drawing/2014/main" id="{7B1D6CD5-CADD-4126-BE8A-0578A161FF80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2">
              <a:extLst>
                <a:ext uri="{FF2B5EF4-FFF2-40B4-BE49-F238E27FC236}">
                  <a16:creationId xmlns:a16="http://schemas.microsoft.com/office/drawing/2014/main" id="{25D6C8D3-C419-4857-A108-FE7F0C9471FE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3">
              <a:extLst>
                <a:ext uri="{FF2B5EF4-FFF2-40B4-BE49-F238E27FC236}">
                  <a16:creationId xmlns:a16="http://schemas.microsoft.com/office/drawing/2014/main" id="{FA70F6AA-6A46-4AD0-AE4A-DB95C2432A3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54">
              <a:extLst>
                <a:ext uri="{FF2B5EF4-FFF2-40B4-BE49-F238E27FC236}">
                  <a16:creationId xmlns:a16="http://schemas.microsoft.com/office/drawing/2014/main" id="{B7646E87-DBF1-4D87-9674-F34F100DF1B9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55">
              <a:extLst>
                <a:ext uri="{FF2B5EF4-FFF2-40B4-BE49-F238E27FC236}">
                  <a16:creationId xmlns:a16="http://schemas.microsoft.com/office/drawing/2014/main" id="{F3153E14-A355-4868-9CFE-A2FA7BF304F2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56">
              <a:extLst>
                <a:ext uri="{FF2B5EF4-FFF2-40B4-BE49-F238E27FC236}">
                  <a16:creationId xmlns:a16="http://schemas.microsoft.com/office/drawing/2014/main" id="{C5C51DEF-45A1-4876-AC47-DD0BFF26719F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58">
              <a:extLst>
                <a:ext uri="{FF2B5EF4-FFF2-40B4-BE49-F238E27FC236}">
                  <a16:creationId xmlns:a16="http://schemas.microsoft.com/office/drawing/2014/main" id="{CB4AE630-EA87-4601-8AD2-D3FBD301DC93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9">
              <a:extLst>
                <a:ext uri="{FF2B5EF4-FFF2-40B4-BE49-F238E27FC236}">
                  <a16:creationId xmlns:a16="http://schemas.microsoft.com/office/drawing/2014/main" id="{9C47166A-32C2-4895-97E6-E2C76539B984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0">
              <a:extLst>
                <a:ext uri="{FF2B5EF4-FFF2-40B4-BE49-F238E27FC236}">
                  <a16:creationId xmlns:a16="http://schemas.microsoft.com/office/drawing/2014/main" id="{1E496FC5-637F-4802-BB46-7CB5CEA631D2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1">
              <a:extLst>
                <a:ext uri="{FF2B5EF4-FFF2-40B4-BE49-F238E27FC236}">
                  <a16:creationId xmlns:a16="http://schemas.microsoft.com/office/drawing/2014/main" id="{692B0DBC-AE62-41BD-9EFA-AC664F20AA93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939726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50E98564-B1B9-4A7B-BF7F-5C4C9A056E69}"/>
              </a:ext>
            </a:extLst>
          </p:cNvPr>
          <p:cNvSpPr/>
          <p:nvPr userDrawn="1"/>
        </p:nvSpPr>
        <p:spPr bwMode="auto">
          <a:xfrm>
            <a:off x="0" y="1"/>
            <a:ext cx="12192000" cy="6861907"/>
          </a:xfrm>
          <a:prstGeom prst="rect">
            <a:avLst/>
          </a:prstGeom>
          <a:solidFill>
            <a:srgbClr val="004669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27" name="Gruppieren 3">
            <a:extLst>
              <a:ext uri="{FF2B5EF4-FFF2-40B4-BE49-F238E27FC236}">
                <a16:creationId xmlns:a16="http://schemas.microsoft.com/office/drawing/2014/main" id="{B1C11083-4B75-4E89-A464-13334DBA1704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28" name="Gerade Verbindung 2">
              <a:extLst>
                <a:ext uri="{FF2B5EF4-FFF2-40B4-BE49-F238E27FC236}">
                  <a16:creationId xmlns:a16="http://schemas.microsoft.com/office/drawing/2014/main" id="{ECFBB4B1-AEBC-4839-B92C-8E63C17CCD5A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35">
              <a:extLst>
                <a:ext uri="{FF2B5EF4-FFF2-40B4-BE49-F238E27FC236}">
                  <a16:creationId xmlns:a16="http://schemas.microsoft.com/office/drawing/2014/main" id="{F9765EA3-B06F-444A-83A8-A14DC3F21B7E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36">
              <a:extLst>
                <a:ext uri="{FF2B5EF4-FFF2-40B4-BE49-F238E27FC236}">
                  <a16:creationId xmlns:a16="http://schemas.microsoft.com/office/drawing/2014/main" id="{A8928516-F929-4616-86FE-1C022EE6651A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7">
              <a:extLst>
                <a:ext uri="{FF2B5EF4-FFF2-40B4-BE49-F238E27FC236}">
                  <a16:creationId xmlns:a16="http://schemas.microsoft.com/office/drawing/2014/main" id="{828D41D3-635E-4D2A-9257-10D70A3D3665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8">
              <a:extLst>
                <a:ext uri="{FF2B5EF4-FFF2-40B4-BE49-F238E27FC236}">
                  <a16:creationId xmlns:a16="http://schemas.microsoft.com/office/drawing/2014/main" id="{D9A28355-F31A-4C88-822A-80CB6E8B48D4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9">
              <a:extLst>
                <a:ext uri="{FF2B5EF4-FFF2-40B4-BE49-F238E27FC236}">
                  <a16:creationId xmlns:a16="http://schemas.microsoft.com/office/drawing/2014/main" id="{41B591E0-B14D-431F-BA77-9D49BA468A0F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41">
              <a:extLst>
                <a:ext uri="{FF2B5EF4-FFF2-40B4-BE49-F238E27FC236}">
                  <a16:creationId xmlns:a16="http://schemas.microsoft.com/office/drawing/2014/main" id="{15A513CB-6FF8-4B5A-A623-9BDA28546AA2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42">
              <a:extLst>
                <a:ext uri="{FF2B5EF4-FFF2-40B4-BE49-F238E27FC236}">
                  <a16:creationId xmlns:a16="http://schemas.microsoft.com/office/drawing/2014/main" id="{AF45ACC0-465B-42E7-929D-D395DA335BC6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43">
              <a:extLst>
                <a:ext uri="{FF2B5EF4-FFF2-40B4-BE49-F238E27FC236}">
                  <a16:creationId xmlns:a16="http://schemas.microsoft.com/office/drawing/2014/main" id="{051E9E83-1E42-46D8-A407-6696BC249BA5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44">
              <a:extLst>
                <a:ext uri="{FF2B5EF4-FFF2-40B4-BE49-F238E27FC236}">
                  <a16:creationId xmlns:a16="http://schemas.microsoft.com/office/drawing/2014/main" id="{A722DE88-ABEC-4F15-B35B-BE407801F1FB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51">
              <a:extLst>
                <a:ext uri="{FF2B5EF4-FFF2-40B4-BE49-F238E27FC236}">
                  <a16:creationId xmlns:a16="http://schemas.microsoft.com/office/drawing/2014/main" id="{99D000E1-723C-4CAD-BD23-581E07161E37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52">
              <a:extLst>
                <a:ext uri="{FF2B5EF4-FFF2-40B4-BE49-F238E27FC236}">
                  <a16:creationId xmlns:a16="http://schemas.microsoft.com/office/drawing/2014/main" id="{63A59B3D-09CC-4FEB-AC53-2F77C00B6F40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53">
              <a:extLst>
                <a:ext uri="{FF2B5EF4-FFF2-40B4-BE49-F238E27FC236}">
                  <a16:creationId xmlns:a16="http://schemas.microsoft.com/office/drawing/2014/main" id="{E4FF55B1-4F06-49A0-A93B-CADF1B4BAB82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54">
              <a:extLst>
                <a:ext uri="{FF2B5EF4-FFF2-40B4-BE49-F238E27FC236}">
                  <a16:creationId xmlns:a16="http://schemas.microsoft.com/office/drawing/2014/main" id="{9582106C-8880-4741-A534-7DA326FE87AD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5">
              <a:extLst>
                <a:ext uri="{FF2B5EF4-FFF2-40B4-BE49-F238E27FC236}">
                  <a16:creationId xmlns:a16="http://schemas.microsoft.com/office/drawing/2014/main" id="{B4632E25-9C97-4A71-AD26-120E124F36F1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6">
              <a:extLst>
                <a:ext uri="{FF2B5EF4-FFF2-40B4-BE49-F238E27FC236}">
                  <a16:creationId xmlns:a16="http://schemas.microsoft.com/office/drawing/2014/main" id="{DF376E3C-59BA-412B-9E4D-92F772135DD8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58">
              <a:extLst>
                <a:ext uri="{FF2B5EF4-FFF2-40B4-BE49-F238E27FC236}">
                  <a16:creationId xmlns:a16="http://schemas.microsoft.com/office/drawing/2014/main" id="{EB6E3FD2-4701-41D0-A251-7759FE8DFCF0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59">
              <a:extLst>
                <a:ext uri="{FF2B5EF4-FFF2-40B4-BE49-F238E27FC236}">
                  <a16:creationId xmlns:a16="http://schemas.microsoft.com/office/drawing/2014/main" id="{A40F28B3-E481-4485-BD7C-2FB0D602705F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0">
              <a:extLst>
                <a:ext uri="{FF2B5EF4-FFF2-40B4-BE49-F238E27FC236}">
                  <a16:creationId xmlns:a16="http://schemas.microsoft.com/office/drawing/2014/main" id="{E03F9AB5-ACD1-4F06-8239-568ADA540F29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1">
              <a:extLst>
                <a:ext uri="{FF2B5EF4-FFF2-40B4-BE49-F238E27FC236}">
                  <a16:creationId xmlns:a16="http://schemas.microsoft.com/office/drawing/2014/main" id="{44A18F23-3FC5-4348-9C50-D1DCC4F73D1E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6" name="Graphic 27">
            <a:extLst>
              <a:ext uri="{FF2B5EF4-FFF2-40B4-BE49-F238E27FC236}">
                <a16:creationId xmlns:a16="http://schemas.microsoft.com/office/drawing/2014/main" id="{85650161-3FF6-4574-817B-BD77F63A50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093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1"/>
            <a:ext cx="8204689" cy="4750549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40381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1"/>
            <a:ext cx="6764477" cy="4750549"/>
          </a:xfrm>
        </p:spPr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84951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6142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6737" y="1414801"/>
            <a:ext cx="5469263" cy="475054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240388" y="1414801"/>
            <a:ext cx="5469263" cy="475054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54284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6737" y="1414801"/>
            <a:ext cx="5469263" cy="475054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414800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61349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851421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6736" y="1414800"/>
            <a:ext cx="5900927" cy="4752000"/>
          </a:xfrm>
          <a:solidFill>
            <a:srgbClr val="CDD9E1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7244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628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784930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8204689" cy="23050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6736" y="3862800"/>
            <a:ext cx="8204689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31110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1"/>
            <a:ext cx="3598576" cy="475200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368113" y="1414801"/>
            <a:ext cx="3598126" cy="475200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8111525" y="1414801"/>
            <a:ext cx="3598126" cy="475200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87866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1"/>
            </p:custDataLst>
          </p:nvPr>
        </p:nvSpPr>
        <p:spPr>
          <a:xfrm>
            <a:off x="626737" y="14148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2"/>
            </p:custDataLst>
          </p:nvPr>
        </p:nvSpPr>
        <p:spPr>
          <a:xfrm>
            <a:off x="6240388" y="14148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3"/>
            </p:custDataLst>
          </p:nvPr>
        </p:nvSpPr>
        <p:spPr>
          <a:xfrm>
            <a:off x="626737" y="38628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4"/>
            </p:custDataLst>
          </p:nvPr>
        </p:nvSpPr>
        <p:spPr>
          <a:xfrm>
            <a:off x="6240388" y="38628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7711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87495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0414328" y="1414800"/>
            <a:ext cx="1295324" cy="4752000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233787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8204689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4328" y="1414800"/>
            <a:ext cx="1295324" cy="4752000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84410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6764477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4328" y="1414800"/>
            <a:ext cx="1295324" cy="4752000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1037512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7" y="1414801"/>
            <a:ext cx="4029901" cy="47505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1524" y="1414801"/>
            <a:ext cx="4029901" cy="47505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4328" y="1414801"/>
            <a:ext cx="1295324" cy="4750549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117710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185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1"/>
            <a:ext cx="2590651" cy="47505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360650" y="1414801"/>
            <a:ext cx="2735350" cy="47505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40388" y="1414801"/>
            <a:ext cx="2591038" cy="47505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10414328" y="1414801"/>
            <a:ext cx="1295324" cy="4750549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3289838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1"/>
            <a:ext cx="8204689" cy="2302549"/>
          </a:xfrm>
        </p:spPr>
        <p:txBody>
          <a:bodyPr/>
          <a:lstStyle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6736" y="3861349"/>
            <a:ext cx="8204689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4328" y="1414801"/>
            <a:ext cx="1295324" cy="4750549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3751567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7" y="1414800"/>
            <a:ext cx="4029901" cy="23025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1523" y="1414800"/>
            <a:ext cx="4029901" cy="23025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6737" y="3861349"/>
            <a:ext cx="4029901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5"/>
            </p:custDataLst>
          </p:nvPr>
        </p:nvSpPr>
        <p:spPr>
          <a:xfrm>
            <a:off x="4801524" y="3861349"/>
            <a:ext cx="4029901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10414328" y="1414801"/>
            <a:ext cx="1295324" cy="4750549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4200644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6571" y="1414800"/>
            <a:ext cx="7535429" cy="47520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de-DE" noProof="0"/>
              <a:t>Inhaltsverzeichnis / Kontakt durch Klicken bearbeiten</a:t>
            </a:r>
          </a:p>
          <a:p>
            <a:pPr lvl="1"/>
            <a:r>
              <a:rPr lang="de-DE" noProof="0"/>
              <a:t>Kapitel</a:t>
            </a:r>
          </a:p>
          <a:p>
            <a:pPr lvl="2"/>
            <a:r>
              <a:rPr lang="de-DE" noProof="0"/>
              <a:t>Aktives Kapitel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800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7142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1"/>
            <a:ext cx="1219200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29" name="Gruppieren 3">
            <a:extLst>
              <a:ext uri="{FF2B5EF4-FFF2-40B4-BE49-F238E27FC236}">
                <a16:creationId xmlns:a16="http://schemas.microsoft.com/office/drawing/2014/main" id="{A815A094-7870-4106-ABE7-861C0DC7C377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0" name="Gerade Verbindung 2">
              <a:extLst>
                <a:ext uri="{FF2B5EF4-FFF2-40B4-BE49-F238E27FC236}">
                  <a16:creationId xmlns:a16="http://schemas.microsoft.com/office/drawing/2014/main" id="{51F83399-ED6C-435C-82B0-AB9C3983078A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5">
              <a:extLst>
                <a:ext uri="{FF2B5EF4-FFF2-40B4-BE49-F238E27FC236}">
                  <a16:creationId xmlns:a16="http://schemas.microsoft.com/office/drawing/2014/main" id="{849F7B33-31B3-43FC-8BD4-B46920285957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6">
              <a:extLst>
                <a:ext uri="{FF2B5EF4-FFF2-40B4-BE49-F238E27FC236}">
                  <a16:creationId xmlns:a16="http://schemas.microsoft.com/office/drawing/2014/main" id="{E432B6DC-E69E-40E8-8406-B0E075725727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7">
              <a:extLst>
                <a:ext uri="{FF2B5EF4-FFF2-40B4-BE49-F238E27FC236}">
                  <a16:creationId xmlns:a16="http://schemas.microsoft.com/office/drawing/2014/main" id="{637F8B10-DBE5-4A3B-9DCE-EC91232064CF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8">
              <a:extLst>
                <a:ext uri="{FF2B5EF4-FFF2-40B4-BE49-F238E27FC236}">
                  <a16:creationId xmlns:a16="http://schemas.microsoft.com/office/drawing/2014/main" id="{753DB954-2D04-4ADA-A802-FDBAD5DDD69C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9">
              <a:extLst>
                <a:ext uri="{FF2B5EF4-FFF2-40B4-BE49-F238E27FC236}">
                  <a16:creationId xmlns:a16="http://schemas.microsoft.com/office/drawing/2014/main" id="{FE4C149D-3FD2-426F-A012-C0E45E18C6F9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41">
              <a:extLst>
                <a:ext uri="{FF2B5EF4-FFF2-40B4-BE49-F238E27FC236}">
                  <a16:creationId xmlns:a16="http://schemas.microsoft.com/office/drawing/2014/main" id="{77A3FA32-B2BB-4270-9CCB-612B2A349DA4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42">
              <a:extLst>
                <a:ext uri="{FF2B5EF4-FFF2-40B4-BE49-F238E27FC236}">
                  <a16:creationId xmlns:a16="http://schemas.microsoft.com/office/drawing/2014/main" id="{3B3F13BC-DCC3-4333-982C-C73B8B49D3F7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43">
              <a:extLst>
                <a:ext uri="{FF2B5EF4-FFF2-40B4-BE49-F238E27FC236}">
                  <a16:creationId xmlns:a16="http://schemas.microsoft.com/office/drawing/2014/main" id="{4ED9EE88-6697-4932-AE68-5B45F6BADDD3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44">
              <a:extLst>
                <a:ext uri="{FF2B5EF4-FFF2-40B4-BE49-F238E27FC236}">
                  <a16:creationId xmlns:a16="http://schemas.microsoft.com/office/drawing/2014/main" id="{B1C92689-3E2A-49B9-9A0F-926E792035CA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51">
              <a:extLst>
                <a:ext uri="{FF2B5EF4-FFF2-40B4-BE49-F238E27FC236}">
                  <a16:creationId xmlns:a16="http://schemas.microsoft.com/office/drawing/2014/main" id="{6DBD38C4-8D80-4C55-B7AB-2FE918F1054B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52">
              <a:extLst>
                <a:ext uri="{FF2B5EF4-FFF2-40B4-BE49-F238E27FC236}">
                  <a16:creationId xmlns:a16="http://schemas.microsoft.com/office/drawing/2014/main" id="{B1A47CCC-2E6F-46C2-A18E-40559A6A1A3E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3">
              <a:extLst>
                <a:ext uri="{FF2B5EF4-FFF2-40B4-BE49-F238E27FC236}">
                  <a16:creationId xmlns:a16="http://schemas.microsoft.com/office/drawing/2014/main" id="{256BFE9F-C104-4176-AF7A-22E3F6CF7A8F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4">
              <a:extLst>
                <a:ext uri="{FF2B5EF4-FFF2-40B4-BE49-F238E27FC236}">
                  <a16:creationId xmlns:a16="http://schemas.microsoft.com/office/drawing/2014/main" id="{18891422-8EB1-490B-90C4-2C0A620FA99E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5">
              <a:extLst>
                <a:ext uri="{FF2B5EF4-FFF2-40B4-BE49-F238E27FC236}">
                  <a16:creationId xmlns:a16="http://schemas.microsoft.com/office/drawing/2014/main" id="{37011BF3-55C8-43DC-BB2A-1DC8DBF615F2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56">
              <a:extLst>
                <a:ext uri="{FF2B5EF4-FFF2-40B4-BE49-F238E27FC236}">
                  <a16:creationId xmlns:a16="http://schemas.microsoft.com/office/drawing/2014/main" id="{462124C2-5745-46C2-8704-13C9D8A1E476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58">
              <a:extLst>
                <a:ext uri="{FF2B5EF4-FFF2-40B4-BE49-F238E27FC236}">
                  <a16:creationId xmlns:a16="http://schemas.microsoft.com/office/drawing/2014/main" id="{74A64262-1A9A-4BDE-BE94-AA7EA6FF8649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59">
              <a:extLst>
                <a:ext uri="{FF2B5EF4-FFF2-40B4-BE49-F238E27FC236}">
                  <a16:creationId xmlns:a16="http://schemas.microsoft.com/office/drawing/2014/main" id="{9C882561-F89E-4E12-BDC4-DC165FB429F4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0">
              <a:extLst>
                <a:ext uri="{FF2B5EF4-FFF2-40B4-BE49-F238E27FC236}">
                  <a16:creationId xmlns:a16="http://schemas.microsoft.com/office/drawing/2014/main" id="{FA487A59-1DFE-4764-8978-19221DE13830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1">
              <a:extLst>
                <a:ext uri="{FF2B5EF4-FFF2-40B4-BE49-F238E27FC236}">
                  <a16:creationId xmlns:a16="http://schemas.microsoft.com/office/drawing/2014/main" id="{82062938-441A-4E34-B2AC-640B62F0E377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26" name="Bildplatzhalter 3">
            <a:extLst>
              <a:ext uri="{FF2B5EF4-FFF2-40B4-BE49-F238E27FC236}">
                <a16:creationId xmlns:a16="http://schemas.microsoft.com/office/drawing/2014/main" id="{A2EA744E-23E9-4DC4-8409-B50D308003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85443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345130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854430" cy="3393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34" name="Bildplatzhalter 3">
            <a:extLst>
              <a:ext uri="{FF2B5EF4-FFF2-40B4-BE49-F238E27FC236}">
                <a16:creationId xmlns:a16="http://schemas.microsoft.com/office/drawing/2014/main" id="{DE1D6AC1-7342-4400-9C2C-E0476823C95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3465000"/>
            <a:ext cx="6854430" cy="3393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0332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fik 28">
            <a:extLst>
              <a:ext uri="{FF2B5EF4-FFF2-40B4-BE49-F238E27FC236}">
                <a16:creationId xmlns:a16="http://schemas.microsoft.com/office/drawing/2014/main" id="{5C6B6D82-11FC-4080-8413-5FD90AED9E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076150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8428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noProof="0"/>
              <a:t>Bitte URL einfügen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842800"/>
            <a:ext cx="3309801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noProof="0"/>
              <a:t>Bitte Schutzvermerk einfügen</a:t>
            </a:r>
          </a:p>
        </p:txBody>
      </p:sp>
      <p:grpSp>
        <p:nvGrpSpPr>
          <p:cNvPr id="59" name="Gruppieren 3">
            <a:extLst>
              <a:ext uri="{FF2B5EF4-FFF2-40B4-BE49-F238E27FC236}">
                <a16:creationId xmlns:a16="http://schemas.microsoft.com/office/drawing/2014/main" id="{A691E265-6AE7-4F52-9FA3-A27084AF4243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61" name="Gerade Verbindung 2">
              <a:extLst>
                <a:ext uri="{FF2B5EF4-FFF2-40B4-BE49-F238E27FC236}">
                  <a16:creationId xmlns:a16="http://schemas.microsoft.com/office/drawing/2014/main" id="{5B37F45B-E874-4C79-8860-F473609BDA0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5">
              <a:extLst>
                <a:ext uri="{FF2B5EF4-FFF2-40B4-BE49-F238E27FC236}">
                  <a16:creationId xmlns:a16="http://schemas.microsoft.com/office/drawing/2014/main" id="{D4E87EB4-6557-40E6-A5ED-B410A0B7C4A0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6">
              <a:extLst>
                <a:ext uri="{FF2B5EF4-FFF2-40B4-BE49-F238E27FC236}">
                  <a16:creationId xmlns:a16="http://schemas.microsoft.com/office/drawing/2014/main" id="{FC32CE1A-D277-4C9F-9728-00823F89F06B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7">
              <a:extLst>
                <a:ext uri="{FF2B5EF4-FFF2-40B4-BE49-F238E27FC236}">
                  <a16:creationId xmlns:a16="http://schemas.microsoft.com/office/drawing/2014/main" id="{6C8D9030-8238-488B-A1CA-E946B3EB6382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38">
              <a:extLst>
                <a:ext uri="{FF2B5EF4-FFF2-40B4-BE49-F238E27FC236}">
                  <a16:creationId xmlns:a16="http://schemas.microsoft.com/office/drawing/2014/main" id="{643D9DC7-43C9-4F1E-847C-011EFA21E077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39">
              <a:extLst>
                <a:ext uri="{FF2B5EF4-FFF2-40B4-BE49-F238E27FC236}">
                  <a16:creationId xmlns:a16="http://schemas.microsoft.com/office/drawing/2014/main" id="{CEA59B9E-B8B2-4C69-8F60-F30349BB5D7A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1">
              <a:extLst>
                <a:ext uri="{FF2B5EF4-FFF2-40B4-BE49-F238E27FC236}">
                  <a16:creationId xmlns:a16="http://schemas.microsoft.com/office/drawing/2014/main" id="{15E1E1DD-B9E5-4989-A684-9584CCDF3534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2">
              <a:extLst>
                <a:ext uri="{FF2B5EF4-FFF2-40B4-BE49-F238E27FC236}">
                  <a16:creationId xmlns:a16="http://schemas.microsoft.com/office/drawing/2014/main" id="{35E258CA-7E96-43C7-AA71-0BB11110309F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3">
              <a:extLst>
                <a:ext uri="{FF2B5EF4-FFF2-40B4-BE49-F238E27FC236}">
                  <a16:creationId xmlns:a16="http://schemas.microsoft.com/office/drawing/2014/main" id="{0F60B345-12C5-45F5-B1F3-B824C0CD7955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4">
              <a:extLst>
                <a:ext uri="{FF2B5EF4-FFF2-40B4-BE49-F238E27FC236}">
                  <a16:creationId xmlns:a16="http://schemas.microsoft.com/office/drawing/2014/main" id="{5E54D5D9-6CA6-475C-8A77-7FEBBB76A8B0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1">
              <a:extLst>
                <a:ext uri="{FF2B5EF4-FFF2-40B4-BE49-F238E27FC236}">
                  <a16:creationId xmlns:a16="http://schemas.microsoft.com/office/drawing/2014/main" id="{8DC38C0E-4CD8-44EC-8953-D6B6D93C32D7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2">
              <a:extLst>
                <a:ext uri="{FF2B5EF4-FFF2-40B4-BE49-F238E27FC236}">
                  <a16:creationId xmlns:a16="http://schemas.microsoft.com/office/drawing/2014/main" id="{FED900E3-2A38-4F5C-80E9-162003EBAA8E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3">
              <a:extLst>
                <a:ext uri="{FF2B5EF4-FFF2-40B4-BE49-F238E27FC236}">
                  <a16:creationId xmlns:a16="http://schemas.microsoft.com/office/drawing/2014/main" id="{DE8D7EC7-3897-448F-AE78-6A9A90101E1C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4">
              <a:extLst>
                <a:ext uri="{FF2B5EF4-FFF2-40B4-BE49-F238E27FC236}">
                  <a16:creationId xmlns:a16="http://schemas.microsoft.com/office/drawing/2014/main" id="{ABE0C40A-0334-4865-8D6D-01D365CDC427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5">
              <a:extLst>
                <a:ext uri="{FF2B5EF4-FFF2-40B4-BE49-F238E27FC236}">
                  <a16:creationId xmlns:a16="http://schemas.microsoft.com/office/drawing/2014/main" id="{4750E5EA-37B5-45C7-A071-98282C04C239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6">
              <a:extLst>
                <a:ext uri="{FF2B5EF4-FFF2-40B4-BE49-F238E27FC236}">
                  <a16:creationId xmlns:a16="http://schemas.microsoft.com/office/drawing/2014/main" id="{E06C1A97-7249-4D44-9BE2-EF4EED7CC9CC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58">
              <a:extLst>
                <a:ext uri="{FF2B5EF4-FFF2-40B4-BE49-F238E27FC236}">
                  <a16:creationId xmlns:a16="http://schemas.microsoft.com/office/drawing/2014/main" id="{82A54D8B-6494-43F4-A2BB-2D851464207C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59">
              <a:extLst>
                <a:ext uri="{FF2B5EF4-FFF2-40B4-BE49-F238E27FC236}">
                  <a16:creationId xmlns:a16="http://schemas.microsoft.com/office/drawing/2014/main" id="{4BB78C3C-9332-4C41-AB62-2AB98A65F4C3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60">
              <a:extLst>
                <a:ext uri="{FF2B5EF4-FFF2-40B4-BE49-F238E27FC236}">
                  <a16:creationId xmlns:a16="http://schemas.microsoft.com/office/drawing/2014/main" id="{4B6D1295-D95F-4A25-9225-F0533DA574F9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61">
              <a:extLst>
                <a:ext uri="{FF2B5EF4-FFF2-40B4-BE49-F238E27FC236}">
                  <a16:creationId xmlns:a16="http://schemas.microsoft.com/office/drawing/2014/main" id="{7AC0C35F-0BB9-43BD-813E-DCC6FFA90AC7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Graphic 30">
            <a:extLst>
              <a:ext uri="{FF2B5EF4-FFF2-40B4-BE49-F238E27FC236}">
                <a16:creationId xmlns:a16="http://schemas.microsoft.com/office/drawing/2014/main" id="{FF2FF38C-C108-4399-A9D1-6574D59BF54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131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rgbClr val="CDD9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076150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6736" y="5842800"/>
            <a:ext cx="6476627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noProof="0"/>
              <a:t>Bitte URL einfügen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6736" y="5842800"/>
            <a:ext cx="3309801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de-DE" noProof="0"/>
              <a:t>Bitte Schutzvermerk einfügen</a:t>
            </a:r>
          </a:p>
        </p:txBody>
      </p:sp>
      <p:grpSp>
        <p:nvGrpSpPr>
          <p:cNvPr id="57" name="Gruppieren 3">
            <a:extLst>
              <a:ext uri="{FF2B5EF4-FFF2-40B4-BE49-F238E27FC236}">
                <a16:creationId xmlns:a16="http://schemas.microsoft.com/office/drawing/2014/main" id="{B5C21E21-E052-451B-BDE0-E43FC40207DD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8" name="Gerade Verbindung 2">
              <a:extLst>
                <a:ext uri="{FF2B5EF4-FFF2-40B4-BE49-F238E27FC236}">
                  <a16:creationId xmlns:a16="http://schemas.microsoft.com/office/drawing/2014/main" id="{542A1893-0B87-4B3D-B4FA-867FA11CCFB1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5">
              <a:extLst>
                <a:ext uri="{FF2B5EF4-FFF2-40B4-BE49-F238E27FC236}">
                  <a16:creationId xmlns:a16="http://schemas.microsoft.com/office/drawing/2014/main" id="{D2B17994-E420-4CB1-A7CD-E535DF6125C9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6">
              <a:extLst>
                <a:ext uri="{FF2B5EF4-FFF2-40B4-BE49-F238E27FC236}">
                  <a16:creationId xmlns:a16="http://schemas.microsoft.com/office/drawing/2014/main" id="{3BA2E6DD-9A67-4C18-9489-15060673EE43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7">
              <a:extLst>
                <a:ext uri="{FF2B5EF4-FFF2-40B4-BE49-F238E27FC236}">
                  <a16:creationId xmlns:a16="http://schemas.microsoft.com/office/drawing/2014/main" id="{FC1854C1-7B49-4012-B63C-C7279D3A0BBD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8">
              <a:extLst>
                <a:ext uri="{FF2B5EF4-FFF2-40B4-BE49-F238E27FC236}">
                  <a16:creationId xmlns:a16="http://schemas.microsoft.com/office/drawing/2014/main" id="{2FEB3565-E837-4D8B-AED8-B46042FD10E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9">
              <a:extLst>
                <a:ext uri="{FF2B5EF4-FFF2-40B4-BE49-F238E27FC236}">
                  <a16:creationId xmlns:a16="http://schemas.microsoft.com/office/drawing/2014/main" id="{570C7294-614C-4F5A-91AF-34FACC8ECFF5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1">
              <a:extLst>
                <a:ext uri="{FF2B5EF4-FFF2-40B4-BE49-F238E27FC236}">
                  <a16:creationId xmlns:a16="http://schemas.microsoft.com/office/drawing/2014/main" id="{3C1F8C9F-1E38-4E67-B3A4-7466723A1C7C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2">
              <a:extLst>
                <a:ext uri="{FF2B5EF4-FFF2-40B4-BE49-F238E27FC236}">
                  <a16:creationId xmlns:a16="http://schemas.microsoft.com/office/drawing/2014/main" id="{F9A18C70-C103-4919-A489-C738B06158E2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3">
              <a:extLst>
                <a:ext uri="{FF2B5EF4-FFF2-40B4-BE49-F238E27FC236}">
                  <a16:creationId xmlns:a16="http://schemas.microsoft.com/office/drawing/2014/main" id="{3B4FFBD8-5570-4694-AD3B-7F9622D06A3B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4">
              <a:extLst>
                <a:ext uri="{FF2B5EF4-FFF2-40B4-BE49-F238E27FC236}">
                  <a16:creationId xmlns:a16="http://schemas.microsoft.com/office/drawing/2014/main" id="{152FE824-9C18-4A15-829E-30051105BE0F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1">
              <a:extLst>
                <a:ext uri="{FF2B5EF4-FFF2-40B4-BE49-F238E27FC236}">
                  <a16:creationId xmlns:a16="http://schemas.microsoft.com/office/drawing/2014/main" id="{E3275013-E75D-4F50-AD0C-3912741931F5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2">
              <a:extLst>
                <a:ext uri="{FF2B5EF4-FFF2-40B4-BE49-F238E27FC236}">
                  <a16:creationId xmlns:a16="http://schemas.microsoft.com/office/drawing/2014/main" id="{D87FC063-CCB2-449C-A103-4BE8C80A9D75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3">
              <a:extLst>
                <a:ext uri="{FF2B5EF4-FFF2-40B4-BE49-F238E27FC236}">
                  <a16:creationId xmlns:a16="http://schemas.microsoft.com/office/drawing/2014/main" id="{E6F084A6-FD70-4EF7-ABFA-1BB64D778323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4">
              <a:extLst>
                <a:ext uri="{FF2B5EF4-FFF2-40B4-BE49-F238E27FC236}">
                  <a16:creationId xmlns:a16="http://schemas.microsoft.com/office/drawing/2014/main" id="{3F33D5F2-340B-44BA-BC03-E58484FDE98F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5">
              <a:extLst>
                <a:ext uri="{FF2B5EF4-FFF2-40B4-BE49-F238E27FC236}">
                  <a16:creationId xmlns:a16="http://schemas.microsoft.com/office/drawing/2014/main" id="{4621E99B-1945-47FB-989A-0187F4D12218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6">
              <a:extLst>
                <a:ext uri="{FF2B5EF4-FFF2-40B4-BE49-F238E27FC236}">
                  <a16:creationId xmlns:a16="http://schemas.microsoft.com/office/drawing/2014/main" id="{60C014DA-54C8-462C-8719-8CECDF9CF8D3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8">
              <a:extLst>
                <a:ext uri="{FF2B5EF4-FFF2-40B4-BE49-F238E27FC236}">
                  <a16:creationId xmlns:a16="http://schemas.microsoft.com/office/drawing/2014/main" id="{30F01FD5-3B60-430B-BF1C-8294B24D688D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9">
              <a:extLst>
                <a:ext uri="{FF2B5EF4-FFF2-40B4-BE49-F238E27FC236}">
                  <a16:creationId xmlns:a16="http://schemas.microsoft.com/office/drawing/2014/main" id="{5911D1A9-0197-47D4-9568-5BBAD7B9F674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0">
              <a:extLst>
                <a:ext uri="{FF2B5EF4-FFF2-40B4-BE49-F238E27FC236}">
                  <a16:creationId xmlns:a16="http://schemas.microsoft.com/office/drawing/2014/main" id="{0D113640-2E8D-4AC9-BAB9-042241E12AB1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61">
              <a:extLst>
                <a:ext uri="{FF2B5EF4-FFF2-40B4-BE49-F238E27FC236}">
                  <a16:creationId xmlns:a16="http://schemas.microsoft.com/office/drawing/2014/main" id="{97A57D31-8658-4F11-A7BD-660F9160148D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0" name="Graphic 29">
            <a:extLst>
              <a:ext uri="{FF2B5EF4-FFF2-40B4-BE49-F238E27FC236}">
                <a16:creationId xmlns:a16="http://schemas.microsoft.com/office/drawing/2014/main" id="{BB2AFED3-889B-46B7-822E-B28370DA381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587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Grafik 26">
            <a:extLst>
              <a:ext uri="{FF2B5EF4-FFF2-40B4-BE49-F238E27FC236}">
                <a16:creationId xmlns:a16="http://schemas.microsoft.com/office/drawing/2014/main" id="{D7AA24FD-E10D-4EE7-B628-97985CCA838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504550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grpSp>
        <p:nvGrpSpPr>
          <p:cNvPr id="58" name="Gruppieren 3">
            <a:extLst>
              <a:ext uri="{FF2B5EF4-FFF2-40B4-BE49-F238E27FC236}">
                <a16:creationId xmlns:a16="http://schemas.microsoft.com/office/drawing/2014/main" id="{BD5BCD77-BA50-4823-BF74-DCB3C393B6EB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9" name="Gerade Verbindung 2">
              <a:extLst>
                <a:ext uri="{FF2B5EF4-FFF2-40B4-BE49-F238E27FC236}">
                  <a16:creationId xmlns:a16="http://schemas.microsoft.com/office/drawing/2014/main" id="{39DE1F75-7EAC-4AE1-A1F1-3D336A0E548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5">
              <a:extLst>
                <a:ext uri="{FF2B5EF4-FFF2-40B4-BE49-F238E27FC236}">
                  <a16:creationId xmlns:a16="http://schemas.microsoft.com/office/drawing/2014/main" id="{CD3CF657-D2AA-4AEA-A8BD-4557FD021A62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6">
              <a:extLst>
                <a:ext uri="{FF2B5EF4-FFF2-40B4-BE49-F238E27FC236}">
                  <a16:creationId xmlns:a16="http://schemas.microsoft.com/office/drawing/2014/main" id="{15358091-C9B5-409A-ABE7-8943FA096D51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7">
              <a:extLst>
                <a:ext uri="{FF2B5EF4-FFF2-40B4-BE49-F238E27FC236}">
                  <a16:creationId xmlns:a16="http://schemas.microsoft.com/office/drawing/2014/main" id="{3F2A3BC5-9F69-44A6-941C-732A0C74E8D2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8">
              <a:extLst>
                <a:ext uri="{FF2B5EF4-FFF2-40B4-BE49-F238E27FC236}">
                  <a16:creationId xmlns:a16="http://schemas.microsoft.com/office/drawing/2014/main" id="{4A607B77-430E-4134-A72E-014B812B5A4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9">
              <a:extLst>
                <a:ext uri="{FF2B5EF4-FFF2-40B4-BE49-F238E27FC236}">
                  <a16:creationId xmlns:a16="http://schemas.microsoft.com/office/drawing/2014/main" id="{542E4096-855C-4A12-BDFF-C88A88F33884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1">
              <a:extLst>
                <a:ext uri="{FF2B5EF4-FFF2-40B4-BE49-F238E27FC236}">
                  <a16:creationId xmlns:a16="http://schemas.microsoft.com/office/drawing/2014/main" id="{B8DE5CEB-734F-4215-B6F9-0ABCA29BDF1E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2">
              <a:extLst>
                <a:ext uri="{FF2B5EF4-FFF2-40B4-BE49-F238E27FC236}">
                  <a16:creationId xmlns:a16="http://schemas.microsoft.com/office/drawing/2014/main" id="{80596428-F011-48A8-9160-3D789DEFA4C1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3">
              <a:extLst>
                <a:ext uri="{FF2B5EF4-FFF2-40B4-BE49-F238E27FC236}">
                  <a16:creationId xmlns:a16="http://schemas.microsoft.com/office/drawing/2014/main" id="{F892447A-7F7A-43E0-8ECE-1B87271919C2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4">
              <a:extLst>
                <a:ext uri="{FF2B5EF4-FFF2-40B4-BE49-F238E27FC236}">
                  <a16:creationId xmlns:a16="http://schemas.microsoft.com/office/drawing/2014/main" id="{249266EC-7EDE-43E9-9C80-CE79D23635D0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1">
              <a:extLst>
                <a:ext uri="{FF2B5EF4-FFF2-40B4-BE49-F238E27FC236}">
                  <a16:creationId xmlns:a16="http://schemas.microsoft.com/office/drawing/2014/main" id="{DD5A1A80-775D-474E-9524-5E01192FBDAC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2">
              <a:extLst>
                <a:ext uri="{FF2B5EF4-FFF2-40B4-BE49-F238E27FC236}">
                  <a16:creationId xmlns:a16="http://schemas.microsoft.com/office/drawing/2014/main" id="{65B8B91E-7E33-482E-9508-3D680CA09A66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3">
              <a:extLst>
                <a:ext uri="{FF2B5EF4-FFF2-40B4-BE49-F238E27FC236}">
                  <a16:creationId xmlns:a16="http://schemas.microsoft.com/office/drawing/2014/main" id="{510ED15E-98B1-4478-AE8A-73089FCF451A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4">
              <a:extLst>
                <a:ext uri="{FF2B5EF4-FFF2-40B4-BE49-F238E27FC236}">
                  <a16:creationId xmlns:a16="http://schemas.microsoft.com/office/drawing/2014/main" id="{B48E4357-1180-48FC-84D9-36EBE6985D6E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5">
              <a:extLst>
                <a:ext uri="{FF2B5EF4-FFF2-40B4-BE49-F238E27FC236}">
                  <a16:creationId xmlns:a16="http://schemas.microsoft.com/office/drawing/2014/main" id="{95549C3E-BD52-46C1-8C7A-FFE9C6951D7A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6">
              <a:extLst>
                <a:ext uri="{FF2B5EF4-FFF2-40B4-BE49-F238E27FC236}">
                  <a16:creationId xmlns:a16="http://schemas.microsoft.com/office/drawing/2014/main" id="{0413DB51-30FE-43D6-94E2-30FEE41136F4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8">
              <a:extLst>
                <a:ext uri="{FF2B5EF4-FFF2-40B4-BE49-F238E27FC236}">
                  <a16:creationId xmlns:a16="http://schemas.microsoft.com/office/drawing/2014/main" id="{B89C61C4-0B3F-482D-88FA-DE0C43A3237C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9">
              <a:extLst>
                <a:ext uri="{FF2B5EF4-FFF2-40B4-BE49-F238E27FC236}">
                  <a16:creationId xmlns:a16="http://schemas.microsoft.com/office/drawing/2014/main" id="{CA68E1D7-F6A6-4C6E-BA26-59968E11ADB4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60">
              <a:extLst>
                <a:ext uri="{FF2B5EF4-FFF2-40B4-BE49-F238E27FC236}">
                  <a16:creationId xmlns:a16="http://schemas.microsoft.com/office/drawing/2014/main" id="{D1FD3672-36F2-48F7-962B-C80DDF73093F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61">
              <a:extLst>
                <a:ext uri="{FF2B5EF4-FFF2-40B4-BE49-F238E27FC236}">
                  <a16:creationId xmlns:a16="http://schemas.microsoft.com/office/drawing/2014/main" id="{5BEB1B31-6A4A-410A-A701-D0DA609DFF18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81763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rgbClr val="CDD9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6736" y="4504550"/>
            <a:ext cx="6476627" cy="166256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grpSp>
        <p:nvGrpSpPr>
          <p:cNvPr id="55" name="Gruppieren 3">
            <a:extLst>
              <a:ext uri="{FF2B5EF4-FFF2-40B4-BE49-F238E27FC236}">
                <a16:creationId xmlns:a16="http://schemas.microsoft.com/office/drawing/2014/main" id="{67A936E5-4E87-4D4E-B02A-03E0AEA93B5A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6" name="Gerade Verbindung 2">
              <a:extLst>
                <a:ext uri="{FF2B5EF4-FFF2-40B4-BE49-F238E27FC236}">
                  <a16:creationId xmlns:a16="http://schemas.microsoft.com/office/drawing/2014/main" id="{FCD5DE54-D39F-4976-BBC7-BF08F3DB645F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35">
              <a:extLst>
                <a:ext uri="{FF2B5EF4-FFF2-40B4-BE49-F238E27FC236}">
                  <a16:creationId xmlns:a16="http://schemas.microsoft.com/office/drawing/2014/main" id="{98E8F9D4-5DD0-4E97-B77C-F79F41EB1D2E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6">
              <a:extLst>
                <a:ext uri="{FF2B5EF4-FFF2-40B4-BE49-F238E27FC236}">
                  <a16:creationId xmlns:a16="http://schemas.microsoft.com/office/drawing/2014/main" id="{2D8929E1-CCCF-42FD-99AD-B1E494118600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7">
              <a:extLst>
                <a:ext uri="{FF2B5EF4-FFF2-40B4-BE49-F238E27FC236}">
                  <a16:creationId xmlns:a16="http://schemas.microsoft.com/office/drawing/2014/main" id="{7EF8A848-6DDF-43EE-A69F-118A5AC15025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8">
              <a:extLst>
                <a:ext uri="{FF2B5EF4-FFF2-40B4-BE49-F238E27FC236}">
                  <a16:creationId xmlns:a16="http://schemas.microsoft.com/office/drawing/2014/main" id="{A33989AA-85FD-4533-B7BD-698478A88BE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9">
              <a:extLst>
                <a:ext uri="{FF2B5EF4-FFF2-40B4-BE49-F238E27FC236}">
                  <a16:creationId xmlns:a16="http://schemas.microsoft.com/office/drawing/2014/main" id="{F6B80195-D556-4A35-8FC0-726934E2190D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41">
              <a:extLst>
                <a:ext uri="{FF2B5EF4-FFF2-40B4-BE49-F238E27FC236}">
                  <a16:creationId xmlns:a16="http://schemas.microsoft.com/office/drawing/2014/main" id="{429F0FE6-B7DD-4864-A2FB-5F41740572CF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2">
              <a:extLst>
                <a:ext uri="{FF2B5EF4-FFF2-40B4-BE49-F238E27FC236}">
                  <a16:creationId xmlns:a16="http://schemas.microsoft.com/office/drawing/2014/main" id="{87DA4935-8736-4C35-80BE-04976EBDE6F2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3">
              <a:extLst>
                <a:ext uri="{FF2B5EF4-FFF2-40B4-BE49-F238E27FC236}">
                  <a16:creationId xmlns:a16="http://schemas.microsoft.com/office/drawing/2014/main" id="{D0DD13A8-3679-4EC7-8FE4-AF76C8436191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4">
              <a:extLst>
                <a:ext uri="{FF2B5EF4-FFF2-40B4-BE49-F238E27FC236}">
                  <a16:creationId xmlns:a16="http://schemas.microsoft.com/office/drawing/2014/main" id="{0E07B00E-9113-4DF5-A715-0808449E1A3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51">
              <a:extLst>
                <a:ext uri="{FF2B5EF4-FFF2-40B4-BE49-F238E27FC236}">
                  <a16:creationId xmlns:a16="http://schemas.microsoft.com/office/drawing/2014/main" id="{13B9A954-C393-4182-95D3-A17AA3493A8E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2">
              <a:extLst>
                <a:ext uri="{FF2B5EF4-FFF2-40B4-BE49-F238E27FC236}">
                  <a16:creationId xmlns:a16="http://schemas.microsoft.com/office/drawing/2014/main" id="{985DAED2-26DA-4F04-92A0-B768CA2AB0B0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3">
              <a:extLst>
                <a:ext uri="{FF2B5EF4-FFF2-40B4-BE49-F238E27FC236}">
                  <a16:creationId xmlns:a16="http://schemas.microsoft.com/office/drawing/2014/main" id="{BC6D51B5-37A1-4194-8D96-14C02849060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4">
              <a:extLst>
                <a:ext uri="{FF2B5EF4-FFF2-40B4-BE49-F238E27FC236}">
                  <a16:creationId xmlns:a16="http://schemas.microsoft.com/office/drawing/2014/main" id="{6AC0E245-7723-4A6E-AEAA-BF3060C1A149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5">
              <a:extLst>
                <a:ext uri="{FF2B5EF4-FFF2-40B4-BE49-F238E27FC236}">
                  <a16:creationId xmlns:a16="http://schemas.microsoft.com/office/drawing/2014/main" id="{A0DD38BB-5EF1-4A3F-948E-662C1B7CB89D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6">
              <a:extLst>
                <a:ext uri="{FF2B5EF4-FFF2-40B4-BE49-F238E27FC236}">
                  <a16:creationId xmlns:a16="http://schemas.microsoft.com/office/drawing/2014/main" id="{75F2ACB7-9CDD-4486-AD1E-77BF99F02257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8">
              <a:extLst>
                <a:ext uri="{FF2B5EF4-FFF2-40B4-BE49-F238E27FC236}">
                  <a16:creationId xmlns:a16="http://schemas.microsoft.com/office/drawing/2014/main" id="{E8532989-9746-468E-851B-F15F76BEE11D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9">
              <a:extLst>
                <a:ext uri="{FF2B5EF4-FFF2-40B4-BE49-F238E27FC236}">
                  <a16:creationId xmlns:a16="http://schemas.microsoft.com/office/drawing/2014/main" id="{4E558AC0-663F-44C3-9A39-2B4B9708BF49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60">
              <a:extLst>
                <a:ext uri="{FF2B5EF4-FFF2-40B4-BE49-F238E27FC236}">
                  <a16:creationId xmlns:a16="http://schemas.microsoft.com/office/drawing/2014/main" id="{4F6D9557-6FA1-4AA4-8FC0-18330D61FF51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1">
              <a:extLst>
                <a:ext uri="{FF2B5EF4-FFF2-40B4-BE49-F238E27FC236}">
                  <a16:creationId xmlns:a16="http://schemas.microsoft.com/office/drawing/2014/main" id="{FA6C7DDE-76D5-4162-BA68-F4BA41EE884F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82C8778A-AABC-4579-9EAC-567D95640AA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695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4733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6736" y="45045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56" name="Gruppieren 3">
            <a:extLst>
              <a:ext uri="{FF2B5EF4-FFF2-40B4-BE49-F238E27FC236}">
                <a16:creationId xmlns:a16="http://schemas.microsoft.com/office/drawing/2014/main" id="{2DBD9D13-C7BA-4902-80AC-C175AA369278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7" name="Gerade Verbindung 2">
              <a:extLst>
                <a:ext uri="{FF2B5EF4-FFF2-40B4-BE49-F238E27FC236}">
                  <a16:creationId xmlns:a16="http://schemas.microsoft.com/office/drawing/2014/main" id="{5E9108FC-3BE8-4A21-B38F-722C6B72455D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5">
              <a:extLst>
                <a:ext uri="{FF2B5EF4-FFF2-40B4-BE49-F238E27FC236}">
                  <a16:creationId xmlns:a16="http://schemas.microsoft.com/office/drawing/2014/main" id="{44948974-4874-4B2E-AF2E-DDA0565582B3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6">
              <a:extLst>
                <a:ext uri="{FF2B5EF4-FFF2-40B4-BE49-F238E27FC236}">
                  <a16:creationId xmlns:a16="http://schemas.microsoft.com/office/drawing/2014/main" id="{9B0ABD24-3B0B-40A3-B1B7-B029B37BDAD1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7">
              <a:extLst>
                <a:ext uri="{FF2B5EF4-FFF2-40B4-BE49-F238E27FC236}">
                  <a16:creationId xmlns:a16="http://schemas.microsoft.com/office/drawing/2014/main" id="{2B5C2D81-8B27-4B35-9067-2C4ED1D5FDDC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8">
              <a:extLst>
                <a:ext uri="{FF2B5EF4-FFF2-40B4-BE49-F238E27FC236}">
                  <a16:creationId xmlns:a16="http://schemas.microsoft.com/office/drawing/2014/main" id="{E5F67A5B-71A9-4F4D-B918-6ECD06E1C93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9">
              <a:extLst>
                <a:ext uri="{FF2B5EF4-FFF2-40B4-BE49-F238E27FC236}">
                  <a16:creationId xmlns:a16="http://schemas.microsoft.com/office/drawing/2014/main" id="{8849258C-47AC-4785-93CF-1F9EF4CB8AD3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1">
              <a:extLst>
                <a:ext uri="{FF2B5EF4-FFF2-40B4-BE49-F238E27FC236}">
                  <a16:creationId xmlns:a16="http://schemas.microsoft.com/office/drawing/2014/main" id="{85F601A3-7B19-4981-99FD-91F8760D452D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2">
              <a:extLst>
                <a:ext uri="{FF2B5EF4-FFF2-40B4-BE49-F238E27FC236}">
                  <a16:creationId xmlns:a16="http://schemas.microsoft.com/office/drawing/2014/main" id="{A94A2DA0-63A2-4633-BD01-C4B7F293AA6E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3">
              <a:extLst>
                <a:ext uri="{FF2B5EF4-FFF2-40B4-BE49-F238E27FC236}">
                  <a16:creationId xmlns:a16="http://schemas.microsoft.com/office/drawing/2014/main" id="{9EABF92E-7FE6-47A8-A4E3-5D1D0669A689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4">
              <a:extLst>
                <a:ext uri="{FF2B5EF4-FFF2-40B4-BE49-F238E27FC236}">
                  <a16:creationId xmlns:a16="http://schemas.microsoft.com/office/drawing/2014/main" id="{23CE0404-5878-4DE5-8358-E01FB0677CA8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1">
              <a:extLst>
                <a:ext uri="{FF2B5EF4-FFF2-40B4-BE49-F238E27FC236}">
                  <a16:creationId xmlns:a16="http://schemas.microsoft.com/office/drawing/2014/main" id="{58D846A9-53E2-4E41-916B-57627E5211F3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2">
              <a:extLst>
                <a:ext uri="{FF2B5EF4-FFF2-40B4-BE49-F238E27FC236}">
                  <a16:creationId xmlns:a16="http://schemas.microsoft.com/office/drawing/2014/main" id="{6D896C3B-7933-448B-9942-68F0FB9C28CA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3">
              <a:extLst>
                <a:ext uri="{FF2B5EF4-FFF2-40B4-BE49-F238E27FC236}">
                  <a16:creationId xmlns:a16="http://schemas.microsoft.com/office/drawing/2014/main" id="{DD7497DB-69B6-4F9D-A69E-AA071A323083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4">
              <a:extLst>
                <a:ext uri="{FF2B5EF4-FFF2-40B4-BE49-F238E27FC236}">
                  <a16:creationId xmlns:a16="http://schemas.microsoft.com/office/drawing/2014/main" id="{2BB91441-E174-420A-B2C2-F8C02123E5D4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5">
              <a:extLst>
                <a:ext uri="{FF2B5EF4-FFF2-40B4-BE49-F238E27FC236}">
                  <a16:creationId xmlns:a16="http://schemas.microsoft.com/office/drawing/2014/main" id="{ED125660-542E-49C3-A724-6B7E5A36FCCA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6">
              <a:extLst>
                <a:ext uri="{FF2B5EF4-FFF2-40B4-BE49-F238E27FC236}">
                  <a16:creationId xmlns:a16="http://schemas.microsoft.com/office/drawing/2014/main" id="{C4A533E1-13D1-4EF2-97EC-EA0A17B4C20E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4913BC20-3066-4FFE-841C-A40055CD8EA3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9">
              <a:extLst>
                <a:ext uri="{FF2B5EF4-FFF2-40B4-BE49-F238E27FC236}">
                  <a16:creationId xmlns:a16="http://schemas.microsoft.com/office/drawing/2014/main" id="{F673A3B3-933F-4A26-A992-0CD9F7F70901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0">
              <a:extLst>
                <a:ext uri="{FF2B5EF4-FFF2-40B4-BE49-F238E27FC236}">
                  <a16:creationId xmlns:a16="http://schemas.microsoft.com/office/drawing/2014/main" id="{ADE1F8DD-11C3-44FE-BC22-98D0AC6B3F58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1">
              <a:extLst>
                <a:ext uri="{FF2B5EF4-FFF2-40B4-BE49-F238E27FC236}">
                  <a16:creationId xmlns:a16="http://schemas.microsoft.com/office/drawing/2014/main" id="{09557594-1A33-4C65-A8B4-403683341475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D3767B3A-7EA6-480A-9D18-59DB67F6D04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370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6000" y="0"/>
            <a:ext cx="1587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1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099" b="1" noProof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6736" y="4504550"/>
            <a:ext cx="6476627" cy="166256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8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56" name="Gruppieren 3">
            <a:extLst>
              <a:ext uri="{FF2B5EF4-FFF2-40B4-BE49-F238E27FC236}">
                <a16:creationId xmlns:a16="http://schemas.microsoft.com/office/drawing/2014/main" id="{A9F4DD81-1824-4CA9-9A76-3D8F476ACB66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57" name="Gerade Verbindung 2">
              <a:extLst>
                <a:ext uri="{FF2B5EF4-FFF2-40B4-BE49-F238E27FC236}">
                  <a16:creationId xmlns:a16="http://schemas.microsoft.com/office/drawing/2014/main" id="{82346EBA-CC4A-4A93-8983-BB32AE7F6B23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5">
              <a:extLst>
                <a:ext uri="{FF2B5EF4-FFF2-40B4-BE49-F238E27FC236}">
                  <a16:creationId xmlns:a16="http://schemas.microsoft.com/office/drawing/2014/main" id="{029C906A-3325-4CC8-88EC-7767B5742FDC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6">
              <a:extLst>
                <a:ext uri="{FF2B5EF4-FFF2-40B4-BE49-F238E27FC236}">
                  <a16:creationId xmlns:a16="http://schemas.microsoft.com/office/drawing/2014/main" id="{C287DCC2-2EEA-4421-BF9D-874D4FE223F6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7">
              <a:extLst>
                <a:ext uri="{FF2B5EF4-FFF2-40B4-BE49-F238E27FC236}">
                  <a16:creationId xmlns:a16="http://schemas.microsoft.com/office/drawing/2014/main" id="{81247FFA-AA1D-4EDE-91DF-3880896BCF64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8">
              <a:extLst>
                <a:ext uri="{FF2B5EF4-FFF2-40B4-BE49-F238E27FC236}">
                  <a16:creationId xmlns:a16="http://schemas.microsoft.com/office/drawing/2014/main" id="{F4FBBF36-A400-4BD3-B932-2C9EF7CFCDF8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9">
              <a:extLst>
                <a:ext uri="{FF2B5EF4-FFF2-40B4-BE49-F238E27FC236}">
                  <a16:creationId xmlns:a16="http://schemas.microsoft.com/office/drawing/2014/main" id="{6E6BBAAE-55F5-4DE8-9D07-79BAC8F8079A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1">
              <a:extLst>
                <a:ext uri="{FF2B5EF4-FFF2-40B4-BE49-F238E27FC236}">
                  <a16:creationId xmlns:a16="http://schemas.microsoft.com/office/drawing/2014/main" id="{C8BAB7DA-C1EA-4B5A-A868-7B7417D32703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2">
              <a:extLst>
                <a:ext uri="{FF2B5EF4-FFF2-40B4-BE49-F238E27FC236}">
                  <a16:creationId xmlns:a16="http://schemas.microsoft.com/office/drawing/2014/main" id="{6A872FA5-83EA-4F9B-AD80-66FF3F175F45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3">
              <a:extLst>
                <a:ext uri="{FF2B5EF4-FFF2-40B4-BE49-F238E27FC236}">
                  <a16:creationId xmlns:a16="http://schemas.microsoft.com/office/drawing/2014/main" id="{EEF9D231-92D9-4603-A715-FC2450442355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4">
              <a:extLst>
                <a:ext uri="{FF2B5EF4-FFF2-40B4-BE49-F238E27FC236}">
                  <a16:creationId xmlns:a16="http://schemas.microsoft.com/office/drawing/2014/main" id="{2FCC491B-515F-45E2-92D2-A23B06828A0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1">
              <a:extLst>
                <a:ext uri="{FF2B5EF4-FFF2-40B4-BE49-F238E27FC236}">
                  <a16:creationId xmlns:a16="http://schemas.microsoft.com/office/drawing/2014/main" id="{4BB0C3DA-B78A-4F51-8271-9DEF2548B887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2">
              <a:extLst>
                <a:ext uri="{FF2B5EF4-FFF2-40B4-BE49-F238E27FC236}">
                  <a16:creationId xmlns:a16="http://schemas.microsoft.com/office/drawing/2014/main" id="{39A45B8B-3B19-49A3-AC48-D8901BD37A1F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3">
              <a:extLst>
                <a:ext uri="{FF2B5EF4-FFF2-40B4-BE49-F238E27FC236}">
                  <a16:creationId xmlns:a16="http://schemas.microsoft.com/office/drawing/2014/main" id="{1678458E-B47B-4091-94C6-C2720FADE038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4">
              <a:extLst>
                <a:ext uri="{FF2B5EF4-FFF2-40B4-BE49-F238E27FC236}">
                  <a16:creationId xmlns:a16="http://schemas.microsoft.com/office/drawing/2014/main" id="{07BC0D7B-1F95-413F-A557-0524669DB149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5">
              <a:extLst>
                <a:ext uri="{FF2B5EF4-FFF2-40B4-BE49-F238E27FC236}">
                  <a16:creationId xmlns:a16="http://schemas.microsoft.com/office/drawing/2014/main" id="{52EF2C5A-4C98-46D2-B34F-92EFCE72BD18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6">
              <a:extLst>
                <a:ext uri="{FF2B5EF4-FFF2-40B4-BE49-F238E27FC236}">
                  <a16:creationId xmlns:a16="http://schemas.microsoft.com/office/drawing/2014/main" id="{0A94D1EF-687E-42C8-B5EA-AA164FA8B918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BFCA3F0B-FCCF-44EE-A991-0E1D964E2685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9">
              <a:extLst>
                <a:ext uri="{FF2B5EF4-FFF2-40B4-BE49-F238E27FC236}">
                  <a16:creationId xmlns:a16="http://schemas.microsoft.com/office/drawing/2014/main" id="{536EEDB6-7E36-4E89-BA8D-8997CE8261F7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0">
              <a:extLst>
                <a:ext uri="{FF2B5EF4-FFF2-40B4-BE49-F238E27FC236}">
                  <a16:creationId xmlns:a16="http://schemas.microsoft.com/office/drawing/2014/main" id="{154F5266-2FC2-4CE8-A2A6-66383D28B6FB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1">
              <a:extLst>
                <a:ext uri="{FF2B5EF4-FFF2-40B4-BE49-F238E27FC236}">
                  <a16:creationId xmlns:a16="http://schemas.microsoft.com/office/drawing/2014/main" id="{FC54F650-E97D-43DD-8CC3-34E072AE20C7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8" name="Graphic 27">
            <a:extLst>
              <a:ext uri="{FF2B5EF4-FFF2-40B4-BE49-F238E27FC236}">
                <a16:creationId xmlns:a16="http://schemas.microsoft.com/office/drawing/2014/main" id="{1233F557-8672-4915-B6FB-BE87693FF4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7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6571" y="1414800"/>
            <a:ext cx="7535429" cy="47520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de-DE" noProof="0"/>
              <a:t>Inhaltsverzeichnis / Kontakt durch Klicken bearbeiten</a:t>
            </a:r>
          </a:p>
          <a:p>
            <a:pPr lvl="1"/>
            <a:r>
              <a:rPr lang="de-DE" noProof="0"/>
              <a:t>Kapitel</a:t>
            </a:r>
          </a:p>
          <a:p>
            <a:pPr lvl="2"/>
            <a:r>
              <a:rPr lang="de-DE" noProof="0"/>
              <a:t>Aktives Kapitel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800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9133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26737" y="1414801"/>
            <a:ext cx="3885890" cy="4750549"/>
          </a:xfrm>
        </p:spPr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6570" y="1414800"/>
            <a:ext cx="7535430" cy="47520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de-DE" noProof="0"/>
              <a:t>Inhaltsverzeichnis / Kontakt durch Klicken bearbeiten</a:t>
            </a:r>
          </a:p>
          <a:p>
            <a:pPr lvl="1"/>
            <a:r>
              <a:rPr lang="de-DE" noProof="0"/>
              <a:t>Kapitel</a:t>
            </a:r>
          </a:p>
          <a:p>
            <a:pPr lvl="2"/>
            <a:r>
              <a:rPr lang="de-DE" noProof="0"/>
              <a:t>Aktives Kapitel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298089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7970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6A31C5F9-CF0C-4D4E-88EA-D62D2332E2B2}"/>
              </a:ext>
            </a:extLst>
          </p:cNvPr>
          <p:cNvSpPr/>
          <p:nvPr userDrawn="1"/>
        </p:nvSpPr>
        <p:spPr bwMode="auto">
          <a:xfrm>
            <a:off x="0" y="1414800"/>
            <a:ext cx="12192000" cy="4752000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12B0309-19D5-47DB-98BB-33A9137943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58589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12197647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60148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1"/>
            <a:ext cx="12192000" cy="1439999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0451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29" name="Gruppieren 3">
            <a:extLst>
              <a:ext uri="{FF2B5EF4-FFF2-40B4-BE49-F238E27FC236}">
                <a16:creationId xmlns:a16="http://schemas.microsoft.com/office/drawing/2014/main" id="{A815A094-7870-4106-ABE7-861C0DC7C377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0" name="Gerade Verbindung 2">
              <a:extLst>
                <a:ext uri="{FF2B5EF4-FFF2-40B4-BE49-F238E27FC236}">
                  <a16:creationId xmlns:a16="http://schemas.microsoft.com/office/drawing/2014/main" id="{51F83399-ED6C-435C-82B0-AB9C3983078A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5">
              <a:extLst>
                <a:ext uri="{FF2B5EF4-FFF2-40B4-BE49-F238E27FC236}">
                  <a16:creationId xmlns:a16="http://schemas.microsoft.com/office/drawing/2014/main" id="{849F7B33-31B3-43FC-8BD4-B46920285957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6">
              <a:extLst>
                <a:ext uri="{FF2B5EF4-FFF2-40B4-BE49-F238E27FC236}">
                  <a16:creationId xmlns:a16="http://schemas.microsoft.com/office/drawing/2014/main" id="{E432B6DC-E69E-40E8-8406-B0E075725727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7">
              <a:extLst>
                <a:ext uri="{FF2B5EF4-FFF2-40B4-BE49-F238E27FC236}">
                  <a16:creationId xmlns:a16="http://schemas.microsoft.com/office/drawing/2014/main" id="{637F8B10-DBE5-4A3B-9DCE-EC91232064CF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8">
              <a:extLst>
                <a:ext uri="{FF2B5EF4-FFF2-40B4-BE49-F238E27FC236}">
                  <a16:creationId xmlns:a16="http://schemas.microsoft.com/office/drawing/2014/main" id="{753DB954-2D04-4ADA-A802-FDBAD5DDD69C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9">
              <a:extLst>
                <a:ext uri="{FF2B5EF4-FFF2-40B4-BE49-F238E27FC236}">
                  <a16:creationId xmlns:a16="http://schemas.microsoft.com/office/drawing/2014/main" id="{FE4C149D-3FD2-426F-A012-C0E45E18C6F9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41">
              <a:extLst>
                <a:ext uri="{FF2B5EF4-FFF2-40B4-BE49-F238E27FC236}">
                  <a16:creationId xmlns:a16="http://schemas.microsoft.com/office/drawing/2014/main" id="{77A3FA32-B2BB-4270-9CCB-612B2A349DA4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42">
              <a:extLst>
                <a:ext uri="{FF2B5EF4-FFF2-40B4-BE49-F238E27FC236}">
                  <a16:creationId xmlns:a16="http://schemas.microsoft.com/office/drawing/2014/main" id="{3B3F13BC-DCC3-4333-982C-C73B8B49D3F7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43">
              <a:extLst>
                <a:ext uri="{FF2B5EF4-FFF2-40B4-BE49-F238E27FC236}">
                  <a16:creationId xmlns:a16="http://schemas.microsoft.com/office/drawing/2014/main" id="{4ED9EE88-6697-4932-AE68-5B45F6BADDD3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44">
              <a:extLst>
                <a:ext uri="{FF2B5EF4-FFF2-40B4-BE49-F238E27FC236}">
                  <a16:creationId xmlns:a16="http://schemas.microsoft.com/office/drawing/2014/main" id="{B1C92689-3E2A-49B9-9A0F-926E792035CA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51">
              <a:extLst>
                <a:ext uri="{FF2B5EF4-FFF2-40B4-BE49-F238E27FC236}">
                  <a16:creationId xmlns:a16="http://schemas.microsoft.com/office/drawing/2014/main" id="{6DBD38C4-8D80-4C55-B7AB-2FE918F1054B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52">
              <a:extLst>
                <a:ext uri="{FF2B5EF4-FFF2-40B4-BE49-F238E27FC236}">
                  <a16:creationId xmlns:a16="http://schemas.microsoft.com/office/drawing/2014/main" id="{B1A47CCC-2E6F-46C2-A18E-40559A6A1A3E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3">
              <a:extLst>
                <a:ext uri="{FF2B5EF4-FFF2-40B4-BE49-F238E27FC236}">
                  <a16:creationId xmlns:a16="http://schemas.microsoft.com/office/drawing/2014/main" id="{256BFE9F-C104-4176-AF7A-22E3F6CF7A8F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4">
              <a:extLst>
                <a:ext uri="{FF2B5EF4-FFF2-40B4-BE49-F238E27FC236}">
                  <a16:creationId xmlns:a16="http://schemas.microsoft.com/office/drawing/2014/main" id="{18891422-8EB1-490B-90C4-2C0A620FA99E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5">
              <a:extLst>
                <a:ext uri="{FF2B5EF4-FFF2-40B4-BE49-F238E27FC236}">
                  <a16:creationId xmlns:a16="http://schemas.microsoft.com/office/drawing/2014/main" id="{37011BF3-55C8-43DC-BB2A-1DC8DBF615F2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56">
              <a:extLst>
                <a:ext uri="{FF2B5EF4-FFF2-40B4-BE49-F238E27FC236}">
                  <a16:creationId xmlns:a16="http://schemas.microsoft.com/office/drawing/2014/main" id="{462124C2-5745-46C2-8704-13C9D8A1E476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58">
              <a:extLst>
                <a:ext uri="{FF2B5EF4-FFF2-40B4-BE49-F238E27FC236}">
                  <a16:creationId xmlns:a16="http://schemas.microsoft.com/office/drawing/2014/main" id="{74A64262-1A9A-4BDE-BE94-AA7EA6FF8649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59">
              <a:extLst>
                <a:ext uri="{FF2B5EF4-FFF2-40B4-BE49-F238E27FC236}">
                  <a16:creationId xmlns:a16="http://schemas.microsoft.com/office/drawing/2014/main" id="{9C882561-F89E-4E12-BDC4-DC165FB429F4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0">
              <a:extLst>
                <a:ext uri="{FF2B5EF4-FFF2-40B4-BE49-F238E27FC236}">
                  <a16:creationId xmlns:a16="http://schemas.microsoft.com/office/drawing/2014/main" id="{FA487A59-1DFE-4764-8978-19221DE13830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61">
              <a:extLst>
                <a:ext uri="{FF2B5EF4-FFF2-40B4-BE49-F238E27FC236}">
                  <a16:creationId xmlns:a16="http://schemas.microsoft.com/office/drawing/2014/main" id="{82062938-441A-4E34-B2AC-640B62F0E377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6692410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1"/>
            <a:ext cx="1219200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799" noProof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de-DE" sz="1799" noProof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31" name="Gruppieren 3">
            <a:extLst>
              <a:ext uri="{FF2B5EF4-FFF2-40B4-BE49-F238E27FC236}">
                <a16:creationId xmlns:a16="http://schemas.microsoft.com/office/drawing/2014/main" id="{09087CB9-8AA1-4CA2-93EE-1A02F64516CD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2" name="Gerade Verbindung 2">
              <a:extLst>
                <a:ext uri="{FF2B5EF4-FFF2-40B4-BE49-F238E27FC236}">
                  <a16:creationId xmlns:a16="http://schemas.microsoft.com/office/drawing/2014/main" id="{6CD62B08-37BA-48C3-9C29-424173300F0E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5">
              <a:extLst>
                <a:ext uri="{FF2B5EF4-FFF2-40B4-BE49-F238E27FC236}">
                  <a16:creationId xmlns:a16="http://schemas.microsoft.com/office/drawing/2014/main" id="{768B41C0-A7A5-4DCF-A966-EE4BA5908C82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6">
              <a:extLst>
                <a:ext uri="{FF2B5EF4-FFF2-40B4-BE49-F238E27FC236}">
                  <a16:creationId xmlns:a16="http://schemas.microsoft.com/office/drawing/2014/main" id="{B1C2E67D-2982-449F-872B-7724F9D9E90D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7">
              <a:extLst>
                <a:ext uri="{FF2B5EF4-FFF2-40B4-BE49-F238E27FC236}">
                  <a16:creationId xmlns:a16="http://schemas.microsoft.com/office/drawing/2014/main" id="{DAB1CCF2-1E0F-44B6-B185-35C994E1E30E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8">
              <a:extLst>
                <a:ext uri="{FF2B5EF4-FFF2-40B4-BE49-F238E27FC236}">
                  <a16:creationId xmlns:a16="http://schemas.microsoft.com/office/drawing/2014/main" id="{B405A61B-9C32-4A9D-91B1-1BD064BC7A4C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9">
              <a:extLst>
                <a:ext uri="{FF2B5EF4-FFF2-40B4-BE49-F238E27FC236}">
                  <a16:creationId xmlns:a16="http://schemas.microsoft.com/office/drawing/2014/main" id="{53398201-4F88-4E3F-85F0-0752C572F91D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41">
              <a:extLst>
                <a:ext uri="{FF2B5EF4-FFF2-40B4-BE49-F238E27FC236}">
                  <a16:creationId xmlns:a16="http://schemas.microsoft.com/office/drawing/2014/main" id="{F5FBD854-20C9-412D-95CF-4E74C911198C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42">
              <a:extLst>
                <a:ext uri="{FF2B5EF4-FFF2-40B4-BE49-F238E27FC236}">
                  <a16:creationId xmlns:a16="http://schemas.microsoft.com/office/drawing/2014/main" id="{A695572E-FC1D-4BC9-B6E1-59F67074A93F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3">
              <a:extLst>
                <a:ext uri="{FF2B5EF4-FFF2-40B4-BE49-F238E27FC236}">
                  <a16:creationId xmlns:a16="http://schemas.microsoft.com/office/drawing/2014/main" id="{EB49C944-F940-4E2F-865A-2700EC6E604F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4">
              <a:extLst>
                <a:ext uri="{FF2B5EF4-FFF2-40B4-BE49-F238E27FC236}">
                  <a16:creationId xmlns:a16="http://schemas.microsoft.com/office/drawing/2014/main" id="{81295EEA-DBEA-44AF-B3CC-002CA8AF6AEC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1">
              <a:extLst>
                <a:ext uri="{FF2B5EF4-FFF2-40B4-BE49-F238E27FC236}">
                  <a16:creationId xmlns:a16="http://schemas.microsoft.com/office/drawing/2014/main" id="{7B1D6CD5-CADD-4126-BE8A-0578A161FF80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2">
              <a:extLst>
                <a:ext uri="{FF2B5EF4-FFF2-40B4-BE49-F238E27FC236}">
                  <a16:creationId xmlns:a16="http://schemas.microsoft.com/office/drawing/2014/main" id="{25D6C8D3-C419-4857-A108-FE7F0C9471FE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3">
              <a:extLst>
                <a:ext uri="{FF2B5EF4-FFF2-40B4-BE49-F238E27FC236}">
                  <a16:creationId xmlns:a16="http://schemas.microsoft.com/office/drawing/2014/main" id="{FA70F6AA-6A46-4AD0-AE4A-DB95C2432A3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54">
              <a:extLst>
                <a:ext uri="{FF2B5EF4-FFF2-40B4-BE49-F238E27FC236}">
                  <a16:creationId xmlns:a16="http://schemas.microsoft.com/office/drawing/2014/main" id="{B7646E87-DBF1-4D87-9674-F34F100DF1B9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55">
              <a:extLst>
                <a:ext uri="{FF2B5EF4-FFF2-40B4-BE49-F238E27FC236}">
                  <a16:creationId xmlns:a16="http://schemas.microsoft.com/office/drawing/2014/main" id="{F3153E14-A355-4868-9CFE-A2FA7BF304F2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56">
              <a:extLst>
                <a:ext uri="{FF2B5EF4-FFF2-40B4-BE49-F238E27FC236}">
                  <a16:creationId xmlns:a16="http://schemas.microsoft.com/office/drawing/2014/main" id="{C5C51DEF-45A1-4876-AC47-DD0BFF26719F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58">
              <a:extLst>
                <a:ext uri="{FF2B5EF4-FFF2-40B4-BE49-F238E27FC236}">
                  <a16:creationId xmlns:a16="http://schemas.microsoft.com/office/drawing/2014/main" id="{CB4AE630-EA87-4601-8AD2-D3FBD301DC93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9">
              <a:extLst>
                <a:ext uri="{FF2B5EF4-FFF2-40B4-BE49-F238E27FC236}">
                  <a16:creationId xmlns:a16="http://schemas.microsoft.com/office/drawing/2014/main" id="{9C47166A-32C2-4895-97E6-E2C76539B984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0">
              <a:extLst>
                <a:ext uri="{FF2B5EF4-FFF2-40B4-BE49-F238E27FC236}">
                  <a16:creationId xmlns:a16="http://schemas.microsoft.com/office/drawing/2014/main" id="{1E496FC5-637F-4802-BB46-7CB5CEA631D2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1">
              <a:extLst>
                <a:ext uri="{FF2B5EF4-FFF2-40B4-BE49-F238E27FC236}">
                  <a16:creationId xmlns:a16="http://schemas.microsoft.com/office/drawing/2014/main" id="{692B0DBC-AE62-41BD-9EFA-AC664F20AA93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0796212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6BC74000-7A5E-4EA7-A45F-17B74F12E651}"/>
              </a:ext>
            </a:extLst>
          </p:cNvPr>
          <p:cNvSpPr/>
          <p:nvPr userDrawn="1"/>
        </p:nvSpPr>
        <p:spPr bwMode="auto">
          <a:xfrm>
            <a:off x="0" y="1"/>
            <a:ext cx="12192000" cy="6861907"/>
          </a:xfrm>
          <a:prstGeom prst="rect">
            <a:avLst/>
          </a:prstGeom>
          <a:solidFill>
            <a:srgbClr val="004669"/>
          </a:solidFill>
          <a:ln>
            <a:noFill/>
          </a:ln>
          <a:effectLst/>
        </p:spPr>
        <p:txBody>
          <a:bodyPr wrap="square" lIns="107944" tIns="53972" rIns="107944" bIns="53972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799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Mastertitelformat bearbeiten</a:t>
            </a:r>
          </a:p>
        </p:txBody>
      </p:sp>
      <p:grpSp>
        <p:nvGrpSpPr>
          <p:cNvPr id="27" name="Gruppieren 3">
            <a:extLst>
              <a:ext uri="{FF2B5EF4-FFF2-40B4-BE49-F238E27FC236}">
                <a16:creationId xmlns:a16="http://schemas.microsoft.com/office/drawing/2014/main" id="{B1C11083-4B75-4E89-A464-13334DBA1704}"/>
              </a:ext>
            </a:extLst>
          </p:cNvPr>
          <p:cNvGrpSpPr/>
          <p:nvPr userDrawn="1"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28" name="Gerade Verbindung 2">
              <a:extLst>
                <a:ext uri="{FF2B5EF4-FFF2-40B4-BE49-F238E27FC236}">
                  <a16:creationId xmlns:a16="http://schemas.microsoft.com/office/drawing/2014/main" id="{ECFBB4B1-AEBC-4839-B92C-8E63C17CCD5A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Gerade Verbindung 35">
              <a:extLst>
                <a:ext uri="{FF2B5EF4-FFF2-40B4-BE49-F238E27FC236}">
                  <a16:creationId xmlns:a16="http://schemas.microsoft.com/office/drawing/2014/main" id="{F9765EA3-B06F-444A-83A8-A14DC3F21B7E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36">
              <a:extLst>
                <a:ext uri="{FF2B5EF4-FFF2-40B4-BE49-F238E27FC236}">
                  <a16:creationId xmlns:a16="http://schemas.microsoft.com/office/drawing/2014/main" id="{A8928516-F929-4616-86FE-1C022EE6651A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7">
              <a:extLst>
                <a:ext uri="{FF2B5EF4-FFF2-40B4-BE49-F238E27FC236}">
                  <a16:creationId xmlns:a16="http://schemas.microsoft.com/office/drawing/2014/main" id="{828D41D3-635E-4D2A-9257-10D70A3D3665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8">
              <a:extLst>
                <a:ext uri="{FF2B5EF4-FFF2-40B4-BE49-F238E27FC236}">
                  <a16:creationId xmlns:a16="http://schemas.microsoft.com/office/drawing/2014/main" id="{D9A28355-F31A-4C88-822A-80CB6E8B48D4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9">
              <a:extLst>
                <a:ext uri="{FF2B5EF4-FFF2-40B4-BE49-F238E27FC236}">
                  <a16:creationId xmlns:a16="http://schemas.microsoft.com/office/drawing/2014/main" id="{41B591E0-B14D-431F-BA77-9D49BA468A0F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41">
              <a:extLst>
                <a:ext uri="{FF2B5EF4-FFF2-40B4-BE49-F238E27FC236}">
                  <a16:creationId xmlns:a16="http://schemas.microsoft.com/office/drawing/2014/main" id="{15A513CB-6FF8-4B5A-A623-9BDA28546AA2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42">
              <a:extLst>
                <a:ext uri="{FF2B5EF4-FFF2-40B4-BE49-F238E27FC236}">
                  <a16:creationId xmlns:a16="http://schemas.microsoft.com/office/drawing/2014/main" id="{AF45ACC0-465B-42E7-929D-D395DA335BC6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43">
              <a:extLst>
                <a:ext uri="{FF2B5EF4-FFF2-40B4-BE49-F238E27FC236}">
                  <a16:creationId xmlns:a16="http://schemas.microsoft.com/office/drawing/2014/main" id="{051E9E83-1E42-46D8-A407-6696BC249BA5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44">
              <a:extLst>
                <a:ext uri="{FF2B5EF4-FFF2-40B4-BE49-F238E27FC236}">
                  <a16:creationId xmlns:a16="http://schemas.microsoft.com/office/drawing/2014/main" id="{A722DE88-ABEC-4F15-B35B-BE407801F1FB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51">
              <a:extLst>
                <a:ext uri="{FF2B5EF4-FFF2-40B4-BE49-F238E27FC236}">
                  <a16:creationId xmlns:a16="http://schemas.microsoft.com/office/drawing/2014/main" id="{99D000E1-723C-4CAD-BD23-581E07161E37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52">
              <a:extLst>
                <a:ext uri="{FF2B5EF4-FFF2-40B4-BE49-F238E27FC236}">
                  <a16:creationId xmlns:a16="http://schemas.microsoft.com/office/drawing/2014/main" id="{63A59B3D-09CC-4FEB-AC53-2F77C00B6F40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53">
              <a:extLst>
                <a:ext uri="{FF2B5EF4-FFF2-40B4-BE49-F238E27FC236}">
                  <a16:creationId xmlns:a16="http://schemas.microsoft.com/office/drawing/2014/main" id="{E4FF55B1-4F06-49A0-A93B-CADF1B4BAB82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54">
              <a:extLst>
                <a:ext uri="{FF2B5EF4-FFF2-40B4-BE49-F238E27FC236}">
                  <a16:creationId xmlns:a16="http://schemas.microsoft.com/office/drawing/2014/main" id="{9582106C-8880-4741-A534-7DA326FE87AD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5">
              <a:extLst>
                <a:ext uri="{FF2B5EF4-FFF2-40B4-BE49-F238E27FC236}">
                  <a16:creationId xmlns:a16="http://schemas.microsoft.com/office/drawing/2014/main" id="{B4632E25-9C97-4A71-AD26-120E124F36F1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6">
              <a:extLst>
                <a:ext uri="{FF2B5EF4-FFF2-40B4-BE49-F238E27FC236}">
                  <a16:creationId xmlns:a16="http://schemas.microsoft.com/office/drawing/2014/main" id="{DF376E3C-59BA-412B-9E4D-92F772135DD8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58">
              <a:extLst>
                <a:ext uri="{FF2B5EF4-FFF2-40B4-BE49-F238E27FC236}">
                  <a16:creationId xmlns:a16="http://schemas.microsoft.com/office/drawing/2014/main" id="{EB6E3FD2-4701-41D0-A251-7759FE8DFCF0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59">
              <a:extLst>
                <a:ext uri="{FF2B5EF4-FFF2-40B4-BE49-F238E27FC236}">
                  <a16:creationId xmlns:a16="http://schemas.microsoft.com/office/drawing/2014/main" id="{A40F28B3-E481-4485-BD7C-2FB0D602705F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60">
              <a:extLst>
                <a:ext uri="{FF2B5EF4-FFF2-40B4-BE49-F238E27FC236}">
                  <a16:creationId xmlns:a16="http://schemas.microsoft.com/office/drawing/2014/main" id="{E03F9AB5-ACD1-4F06-8239-568ADA540F29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1">
              <a:extLst>
                <a:ext uri="{FF2B5EF4-FFF2-40B4-BE49-F238E27FC236}">
                  <a16:creationId xmlns:a16="http://schemas.microsoft.com/office/drawing/2014/main" id="{44A18F23-3FC5-4348-9C50-D1DCC4F73D1E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6" name="Graphic 27">
            <a:extLst>
              <a:ext uri="{FF2B5EF4-FFF2-40B4-BE49-F238E27FC236}">
                <a16:creationId xmlns:a16="http://schemas.microsoft.com/office/drawing/2014/main" id="{3C55AA14-17AD-473B-AC16-B2E1929540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9850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4543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1"/>
            <a:ext cx="8204689" cy="4750549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560940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-1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1"/>
            <a:ext cx="6764477" cy="4750549"/>
          </a:xfrm>
        </p:spPr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9421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6737" y="1414801"/>
            <a:ext cx="5469263" cy="475054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baseline="0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2"/>
            </p:custDataLst>
          </p:nvPr>
        </p:nvSpPr>
        <p:spPr>
          <a:xfrm>
            <a:off x="6240388" y="1414801"/>
            <a:ext cx="5469263" cy="475054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79088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6737" y="1414801"/>
            <a:ext cx="5469263" cy="475054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414800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61349"/>
            <a:ext cx="5469151" cy="2304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8765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6736" y="1414800"/>
            <a:ext cx="5900927" cy="4752000"/>
          </a:xfrm>
          <a:solidFill>
            <a:srgbClr val="CDD9E1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0387" y="17244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0387" y="3862800"/>
            <a:ext cx="5469151" cy="1998000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9867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8204689" cy="23050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6736" y="3862800"/>
            <a:ext cx="8204689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8113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1"/>
            <a:ext cx="3598576" cy="475200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368113" y="1414801"/>
            <a:ext cx="3598126" cy="475200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8111525" y="1414801"/>
            <a:ext cx="3598126" cy="475200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65163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1"/>
            </p:custDataLst>
          </p:nvPr>
        </p:nvSpPr>
        <p:spPr>
          <a:xfrm>
            <a:off x="626737" y="14148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2"/>
            </p:custDataLst>
          </p:nvPr>
        </p:nvSpPr>
        <p:spPr>
          <a:xfrm>
            <a:off x="6240388" y="14148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3"/>
            </p:custDataLst>
          </p:nvPr>
        </p:nvSpPr>
        <p:spPr>
          <a:xfrm>
            <a:off x="626737" y="38628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4"/>
            </p:custDataLst>
          </p:nvPr>
        </p:nvSpPr>
        <p:spPr>
          <a:xfrm>
            <a:off x="6240388" y="3862800"/>
            <a:ext cx="5469263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298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596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7894" marR="0" indent="-179910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9640" marR="0" indent="-177711" algn="l" defTabSz="913943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3138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0414328" y="1414800"/>
            <a:ext cx="1295324" cy="4752000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140930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8204689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4328" y="1414800"/>
            <a:ext cx="1295324" cy="4752000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4057368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0781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1790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0"/>
            <a:ext cx="6764477" cy="4752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4328" y="1414800"/>
            <a:ext cx="1295324" cy="4752000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393169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7" y="1414801"/>
            <a:ext cx="4029901" cy="47505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1524" y="1414801"/>
            <a:ext cx="4029901" cy="47505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4328" y="1414801"/>
            <a:ext cx="1295324" cy="4750549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166357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1"/>
            <a:ext cx="2590651" cy="47505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360650" y="1414801"/>
            <a:ext cx="2735350" cy="47505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40388" y="1414801"/>
            <a:ext cx="2591038" cy="4750549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10414328" y="1414801"/>
            <a:ext cx="1295324" cy="4750549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220254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6" y="1414801"/>
            <a:ext cx="8204689" cy="2302549"/>
          </a:xfrm>
        </p:spPr>
        <p:txBody>
          <a:bodyPr/>
          <a:lstStyle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6736" y="3861349"/>
            <a:ext cx="8204689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4328" y="1414801"/>
            <a:ext cx="1295324" cy="4750549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1639769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0" y="0"/>
            <a:ext cx="12192000" cy="1414800"/>
          </a:xfrm>
        </p:spPr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6737" y="1414800"/>
            <a:ext cx="4029901" cy="23025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1523" y="1414800"/>
            <a:ext cx="4029901" cy="230255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6737" y="3861349"/>
            <a:ext cx="4029901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5"/>
            </p:custDataLst>
          </p:nvPr>
        </p:nvSpPr>
        <p:spPr>
          <a:xfrm>
            <a:off x="4801524" y="3861349"/>
            <a:ext cx="4029901" cy="2304000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10414328" y="1414801"/>
            <a:ext cx="1295324" cy="4750549"/>
          </a:xfrm>
        </p:spPr>
        <p:txBody>
          <a:bodyPr/>
          <a:lstStyle>
            <a:lvl1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199">
                <a:solidFill>
                  <a:srgbClr val="879BAA"/>
                </a:solidFill>
              </a:defRPr>
            </a:lvl1pPr>
            <a:lvl2pPr marL="143928" indent="-143928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199">
                <a:solidFill>
                  <a:srgbClr val="641946"/>
                </a:solidFill>
              </a:defRPr>
            </a:lvl2pPr>
            <a:lvl3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rgbClr val="879BAA"/>
                </a:solidFill>
              </a:defRPr>
            </a:lvl3pPr>
            <a:lvl4pPr marL="287856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rgbClr val="641946"/>
                </a:solidFill>
              </a:defRPr>
            </a:lvl4pPr>
            <a:lvl5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999">
                <a:solidFill>
                  <a:schemeClr val="accent1"/>
                </a:solidFill>
              </a:defRPr>
            </a:lvl5pPr>
            <a:lvl6pPr marL="431784" indent="-143928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999">
                <a:solidFill>
                  <a:schemeClr val="accent4"/>
                </a:solidFill>
              </a:defRPr>
            </a:lvl6pPr>
          </a:lstStyle>
          <a:p>
            <a:pPr lvl="0"/>
            <a:r>
              <a:rPr lang="de-DE" noProof="0"/>
              <a:t>Navigationstext durch Klicken bearbeiten</a:t>
            </a:r>
          </a:p>
          <a:p>
            <a:pPr lvl="1"/>
            <a:r>
              <a:rPr lang="de-DE" noProof="0"/>
              <a:t>Aktives Kapitel</a:t>
            </a:r>
          </a:p>
          <a:p>
            <a:pPr lvl="2"/>
            <a:r>
              <a:rPr lang="de-DE" noProof="0"/>
              <a:t>Unterkapitel</a:t>
            </a:r>
          </a:p>
          <a:p>
            <a:pPr lvl="3"/>
            <a:r>
              <a:rPr lang="de-DE" noProof="0"/>
              <a:t>Aktives Unterkapitel</a:t>
            </a:r>
          </a:p>
          <a:p>
            <a:pPr lvl="4"/>
            <a:r>
              <a:rPr lang="de-DE" noProof="0"/>
              <a:t>Unterkapitel</a:t>
            </a:r>
          </a:p>
          <a:p>
            <a:pPr lvl="5"/>
            <a:r>
              <a:rPr lang="de-DE" noProof="0"/>
              <a:t>Aktives Unterkapitel</a:t>
            </a:r>
          </a:p>
        </p:txBody>
      </p:sp>
    </p:spTree>
    <p:extLst>
      <p:ext uri="{BB962C8B-B14F-4D97-AF65-F5344CB8AC3E}">
        <p14:creationId xmlns:p14="http://schemas.microsoft.com/office/powerpoint/2010/main" val="336691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Mastertitelformat bearbeiten</a:t>
            </a: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6571" y="1414800"/>
            <a:ext cx="7535429" cy="47520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6720" algn="r"/>
              </a:tabLst>
              <a:defRPr>
                <a:solidFill>
                  <a:srgbClr val="000000"/>
                </a:solidFill>
              </a:defRPr>
            </a:lvl1pPr>
            <a:lvl2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2pPr>
            <a:lvl3pPr marL="17991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>
                <a:solidFill>
                  <a:srgbClr val="000000"/>
                </a:solidFill>
              </a:defRPr>
            </a:lvl3pPr>
            <a:lvl4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0">
                <a:solidFill>
                  <a:srgbClr val="000000"/>
                </a:solidFill>
              </a:defRPr>
            </a:lvl4pPr>
            <a:lvl5pPr marL="359820" indent="-17991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 baseline="0">
                <a:solidFill>
                  <a:srgbClr val="000000"/>
                </a:solidFill>
              </a:defRPr>
            </a:lvl5pPr>
            <a:lvl6pPr marL="360183" indent="-18088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6720" algn="r"/>
              </a:tabLst>
              <a:defRPr b="1"/>
            </a:lvl6pPr>
          </a:lstStyle>
          <a:p>
            <a:pPr lvl="0"/>
            <a:r>
              <a:rPr lang="de-DE" noProof="0"/>
              <a:t>Inhaltsverzeichnis / Kontakt durch Klicken bearbeiten</a:t>
            </a:r>
          </a:p>
          <a:p>
            <a:pPr lvl="1"/>
            <a:r>
              <a:rPr lang="de-DE" noProof="0"/>
              <a:t>Kapitel</a:t>
            </a:r>
          </a:p>
          <a:p>
            <a:pPr lvl="2"/>
            <a:r>
              <a:rPr lang="de-DE" noProof="0"/>
              <a:t>Aktives Kapitel</a:t>
            </a:r>
          </a:p>
          <a:p>
            <a:pPr lvl="3"/>
            <a:r>
              <a:rPr lang="de-DE" noProof="0"/>
              <a:t>Unterkapitel</a:t>
            </a:r>
          </a:p>
          <a:p>
            <a:pPr lvl="4"/>
            <a:r>
              <a:rPr lang="de-DE" noProof="0"/>
              <a:t>Aktives Unterkapitel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4800"/>
            <a:ext cx="4512050" cy="47520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77320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6578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602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998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419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6944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447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76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CA7FD744-5012-40FC-8106-A5602D97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6200000">
            <a:off x="5824540" y="490535"/>
            <a:ext cx="6858003" cy="5876925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074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tage">
            <a:extLst>
              <a:ext uri="{FF2B5EF4-FFF2-40B4-BE49-F238E27FC236}">
                <a16:creationId xmlns:a16="http://schemas.microsoft.com/office/drawing/2014/main" id="{3736255E-953B-46D8-9F91-117AAB8492F2}"/>
              </a:ext>
            </a:extLst>
          </p:cNvPr>
          <p:cNvSpPr/>
          <p:nvPr userDrawn="1"/>
        </p:nvSpPr>
        <p:spPr>
          <a:xfrm>
            <a:off x="0" y="1414463"/>
            <a:ext cx="12191999" cy="4752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534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475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757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658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484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146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457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628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758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802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51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334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428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515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723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101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4181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26016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639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9706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6167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850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34800"/>
            <a:ext cx="9288000" cy="1162523"/>
          </a:xfrm>
        </p:spPr>
        <p:txBody>
          <a:bodyPr wrap="square" lIns="0" tIns="54000" rIns="0" bIns="0" anchor="t" anchorCtr="0">
            <a:spAutoFit/>
          </a:bodyPr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 info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2399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8.xml"/><Relationship Id="rId18" Type="http://schemas.openxmlformats.org/officeDocument/2006/relationships/slideLayout" Target="../slideLayouts/slideLayout453.xml"/><Relationship Id="rId26" Type="http://schemas.openxmlformats.org/officeDocument/2006/relationships/slideLayout" Target="../slideLayouts/slideLayout461.xml"/><Relationship Id="rId39" Type="http://schemas.openxmlformats.org/officeDocument/2006/relationships/slideLayout" Target="../slideLayouts/slideLayout474.xml"/><Relationship Id="rId21" Type="http://schemas.openxmlformats.org/officeDocument/2006/relationships/slideLayout" Target="../slideLayouts/slideLayout456.xml"/><Relationship Id="rId34" Type="http://schemas.openxmlformats.org/officeDocument/2006/relationships/slideLayout" Target="../slideLayouts/slideLayout469.xml"/><Relationship Id="rId42" Type="http://schemas.openxmlformats.org/officeDocument/2006/relationships/slideLayout" Target="../slideLayouts/slideLayout477.xml"/><Relationship Id="rId47" Type="http://schemas.openxmlformats.org/officeDocument/2006/relationships/slideLayout" Target="../slideLayouts/slideLayout482.xml"/><Relationship Id="rId50" Type="http://schemas.openxmlformats.org/officeDocument/2006/relationships/slideLayout" Target="../slideLayouts/slideLayout485.xml"/><Relationship Id="rId55" Type="http://schemas.openxmlformats.org/officeDocument/2006/relationships/tags" Target="../tags/tag27.xml"/><Relationship Id="rId7" Type="http://schemas.openxmlformats.org/officeDocument/2006/relationships/slideLayout" Target="../slideLayouts/slideLayout442.xml"/><Relationship Id="rId12" Type="http://schemas.openxmlformats.org/officeDocument/2006/relationships/slideLayout" Target="../slideLayouts/slideLayout447.xml"/><Relationship Id="rId17" Type="http://schemas.openxmlformats.org/officeDocument/2006/relationships/slideLayout" Target="../slideLayouts/slideLayout452.xml"/><Relationship Id="rId25" Type="http://schemas.openxmlformats.org/officeDocument/2006/relationships/slideLayout" Target="../slideLayouts/slideLayout460.xml"/><Relationship Id="rId33" Type="http://schemas.openxmlformats.org/officeDocument/2006/relationships/slideLayout" Target="../slideLayouts/slideLayout468.xml"/><Relationship Id="rId38" Type="http://schemas.openxmlformats.org/officeDocument/2006/relationships/slideLayout" Target="../slideLayouts/slideLayout473.xml"/><Relationship Id="rId46" Type="http://schemas.openxmlformats.org/officeDocument/2006/relationships/slideLayout" Target="../slideLayouts/slideLayout481.xml"/><Relationship Id="rId2" Type="http://schemas.openxmlformats.org/officeDocument/2006/relationships/slideLayout" Target="../slideLayouts/slideLayout437.xml"/><Relationship Id="rId16" Type="http://schemas.openxmlformats.org/officeDocument/2006/relationships/slideLayout" Target="../slideLayouts/slideLayout451.xml"/><Relationship Id="rId20" Type="http://schemas.openxmlformats.org/officeDocument/2006/relationships/slideLayout" Target="../slideLayouts/slideLayout455.xml"/><Relationship Id="rId29" Type="http://schemas.openxmlformats.org/officeDocument/2006/relationships/slideLayout" Target="../slideLayouts/slideLayout464.xml"/><Relationship Id="rId41" Type="http://schemas.openxmlformats.org/officeDocument/2006/relationships/slideLayout" Target="../slideLayouts/slideLayout476.xml"/><Relationship Id="rId54" Type="http://schemas.openxmlformats.org/officeDocument/2006/relationships/tags" Target="../tags/tag26.xml"/><Relationship Id="rId1" Type="http://schemas.openxmlformats.org/officeDocument/2006/relationships/slideLayout" Target="../slideLayouts/slideLayout436.xml"/><Relationship Id="rId6" Type="http://schemas.openxmlformats.org/officeDocument/2006/relationships/slideLayout" Target="../slideLayouts/slideLayout441.xml"/><Relationship Id="rId11" Type="http://schemas.openxmlformats.org/officeDocument/2006/relationships/slideLayout" Target="../slideLayouts/slideLayout446.xml"/><Relationship Id="rId24" Type="http://schemas.openxmlformats.org/officeDocument/2006/relationships/slideLayout" Target="../slideLayouts/slideLayout459.xml"/><Relationship Id="rId32" Type="http://schemas.openxmlformats.org/officeDocument/2006/relationships/slideLayout" Target="../slideLayouts/slideLayout467.xml"/><Relationship Id="rId37" Type="http://schemas.openxmlformats.org/officeDocument/2006/relationships/slideLayout" Target="../slideLayouts/slideLayout472.xml"/><Relationship Id="rId40" Type="http://schemas.openxmlformats.org/officeDocument/2006/relationships/slideLayout" Target="../slideLayouts/slideLayout475.xml"/><Relationship Id="rId45" Type="http://schemas.openxmlformats.org/officeDocument/2006/relationships/slideLayout" Target="../slideLayouts/slideLayout480.xml"/><Relationship Id="rId53" Type="http://schemas.openxmlformats.org/officeDocument/2006/relationships/theme" Target="../theme/theme10.xml"/><Relationship Id="rId5" Type="http://schemas.openxmlformats.org/officeDocument/2006/relationships/slideLayout" Target="../slideLayouts/slideLayout440.xml"/><Relationship Id="rId15" Type="http://schemas.openxmlformats.org/officeDocument/2006/relationships/slideLayout" Target="../slideLayouts/slideLayout450.xml"/><Relationship Id="rId23" Type="http://schemas.openxmlformats.org/officeDocument/2006/relationships/slideLayout" Target="../slideLayouts/slideLayout458.xml"/><Relationship Id="rId28" Type="http://schemas.openxmlformats.org/officeDocument/2006/relationships/slideLayout" Target="../slideLayouts/slideLayout463.xml"/><Relationship Id="rId36" Type="http://schemas.openxmlformats.org/officeDocument/2006/relationships/slideLayout" Target="../slideLayouts/slideLayout471.xml"/><Relationship Id="rId49" Type="http://schemas.openxmlformats.org/officeDocument/2006/relationships/slideLayout" Target="../slideLayouts/slideLayout484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445.xml"/><Relationship Id="rId19" Type="http://schemas.openxmlformats.org/officeDocument/2006/relationships/slideLayout" Target="../slideLayouts/slideLayout454.xml"/><Relationship Id="rId31" Type="http://schemas.openxmlformats.org/officeDocument/2006/relationships/slideLayout" Target="../slideLayouts/slideLayout466.xml"/><Relationship Id="rId44" Type="http://schemas.openxmlformats.org/officeDocument/2006/relationships/slideLayout" Target="../slideLayouts/slideLayout479.xml"/><Relationship Id="rId52" Type="http://schemas.openxmlformats.org/officeDocument/2006/relationships/slideLayout" Target="../slideLayouts/slideLayout487.xml"/><Relationship Id="rId4" Type="http://schemas.openxmlformats.org/officeDocument/2006/relationships/slideLayout" Target="../slideLayouts/slideLayout439.xml"/><Relationship Id="rId9" Type="http://schemas.openxmlformats.org/officeDocument/2006/relationships/slideLayout" Target="../slideLayouts/slideLayout444.xml"/><Relationship Id="rId14" Type="http://schemas.openxmlformats.org/officeDocument/2006/relationships/slideLayout" Target="../slideLayouts/slideLayout449.xml"/><Relationship Id="rId22" Type="http://schemas.openxmlformats.org/officeDocument/2006/relationships/slideLayout" Target="../slideLayouts/slideLayout457.xml"/><Relationship Id="rId27" Type="http://schemas.openxmlformats.org/officeDocument/2006/relationships/slideLayout" Target="../slideLayouts/slideLayout462.xml"/><Relationship Id="rId30" Type="http://schemas.openxmlformats.org/officeDocument/2006/relationships/slideLayout" Target="../slideLayouts/slideLayout465.xml"/><Relationship Id="rId35" Type="http://schemas.openxmlformats.org/officeDocument/2006/relationships/slideLayout" Target="../slideLayouts/slideLayout470.xml"/><Relationship Id="rId43" Type="http://schemas.openxmlformats.org/officeDocument/2006/relationships/slideLayout" Target="../slideLayouts/slideLayout478.xml"/><Relationship Id="rId48" Type="http://schemas.openxmlformats.org/officeDocument/2006/relationships/slideLayout" Target="../slideLayouts/slideLayout483.xml"/><Relationship Id="rId56" Type="http://schemas.openxmlformats.org/officeDocument/2006/relationships/oleObject" Target="../embeddings/oleObject5.bin"/><Relationship Id="rId8" Type="http://schemas.openxmlformats.org/officeDocument/2006/relationships/slideLayout" Target="../slideLayouts/slideLayout443.xml"/><Relationship Id="rId51" Type="http://schemas.openxmlformats.org/officeDocument/2006/relationships/slideLayout" Target="../slideLayouts/slideLayout486.xml"/><Relationship Id="rId3" Type="http://schemas.openxmlformats.org/officeDocument/2006/relationships/slideLayout" Target="../slideLayouts/slideLayout438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0.xml"/><Relationship Id="rId18" Type="http://schemas.openxmlformats.org/officeDocument/2006/relationships/slideLayout" Target="../slideLayouts/slideLayout505.xml"/><Relationship Id="rId26" Type="http://schemas.openxmlformats.org/officeDocument/2006/relationships/slideLayout" Target="../slideLayouts/slideLayout513.xml"/><Relationship Id="rId39" Type="http://schemas.openxmlformats.org/officeDocument/2006/relationships/slideLayout" Target="../slideLayouts/slideLayout526.xml"/><Relationship Id="rId21" Type="http://schemas.openxmlformats.org/officeDocument/2006/relationships/slideLayout" Target="../slideLayouts/slideLayout508.xml"/><Relationship Id="rId34" Type="http://schemas.openxmlformats.org/officeDocument/2006/relationships/slideLayout" Target="../slideLayouts/slideLayout521.xml"/><Relationship Id="rId42" Type="http://schemas.openxmlformats.org/officeDocument/2006/relationships/slideLayout" Target="../slideLayouts/slideLayout529.xml"/><Relationship Id="rId47" Type="http://schemas.openxmlformats.org/officeDocument/2006/relationships/slideLayout" Target="../slideLayouts/slideLayout534.xml"/><Relationship Id="rId50" Type="http://schemas.openxmlformats.org/officeDocument/2006/relationships/slideLayout" Target="../slideLayouts/slideLayout537.xml"/><Relationship Id="rId55" Type="http://schemas.openxmlformats.org/officeDocument/2006/relationships/tags" Target="../tags/tag29.xml"/><Relationship Id="rId7" Type="http://schemas.openxmlformats.org/officeDocument/2006/relationships/slideLayout" Target="../slideLayouts/slideLayout494.xml"/><Relationship Id="rId12" Type="http://schemas.openxmlformats.org/officeDocument/2006/relationships/slideLayout" Target="../slideLayouts/slideLayout499.xml"/><Relationship Id="rId17" Type="http://schemas.openxmlformats.org/officeDocument/2006/relationships/slideLayout" Target="../slideLayouts/slideLayout504.xml"/><Relationship Id="rId25" Type="http://schemas.openxmlformats.org/officeDocument/2006/relationships/slideLayout" Target="../slideLayouts/slideLayout512.xml"/><Relationship Id="rId33" Type="http://schemas.openxmlformats.org/officeDocument/2006/relationships/slideLayout" Target="../slideLayouts/slideLayout520.xml"/><Relationship Id="rId38" Type="http://schemas.openxmlformats.org/officeDocument/2006/relationships/slideLayout" Target="../slideLayouts/slideLayout525.xml"/><Relationship Id="rId46" Type="http://schemas.openxmlformats.org/officeDocument/2006/relationships/slideLayout" Target="../slideLayouts/slideLayout533.xml"/><Relationship Id="rId2" Type="http://schemas.openxmlformats.org/officeDocument/2006/relationships/slideLayout" Target="../slideLayouts/slideLayout489.xml"/><Relationship Id="rId16" Type="http://schemas.openxmlformats.org/officeDocument/2006/relationships/slideLayout" Target="../slideLayouts/slideLayout503.xml"/><Relationship Id="rId20" Type="http://schemas.openxmlformats.org/officeDocument/2006/relationships/slideLayout" Target="../slideLayouts/slideLayout507.xml"/><Relationship Id="rId29" Type="http://schemas.openxmlformats.org/officeDocument/2006/relationships/slideLayout" Target="../slideLayouts/slideLayout516.xml"/><Relationship Id="rId41" Type="http://schemas.openxmlformats.org/officeDocument/2006/relationships/slideLayout" Target="../slideLayouts/slideLayout528.xml"/><Relationship Id="rId54" Type="http://schemas.openxmlformats.org/officeDocument/2006/relationships/tags" Target="../tags/tag28.xml"/><Relationship Id="rId1" Type="http://schemas.openxmlformats.org/officeDocument/2006/relationships/slideLayout" Target="../slideLayouts/slideLayout488.xml"/><Relationship Id="rId6" Type="http://schemas.openxmlformats.org/officeDocument/2006/relationships/slideLayout" Target="../slideLayouts/slideLayout493.xml"/><Relationship Id="rId11" Type="http://schemas.openxmlformats.org/officeDocument/2006/relationships/slideLayout" Target="../slideLayouts/slideLayout498.xml"/><Relationship Id="rId24" Type="http://schemas.openxmlformats.org/officeDocument/2006/relationships/slideLayout" Target="../slideLayouts/slideLayout511.xml"/><Relationship Id="rId32" Type="http://schemas.openxmlformats.org/officeDocument/2006/relationships/slideLayout" Target="../slideLayouts/slideLayout519.xml"/><Relationship Id="rId37" Type="http://schemas.openxmlformats.org/officeDocument/2006/relationships/slideLayout" Target="../slideLayouts/slideLayout524.xml"/><Relationship Id="rId40" Type="http://schemas.openxmlformats.org/officeDocument/2006/relationships/slideLayout" Target="../slideLayouts/slideLayout527.xml"/><Relationship Id="rId45" Type="http://schemas.openxmlformats.org/officeDocument/2006/relationships/slideLayout" Target="../slideLayouts/slideLayout532.xml"/><Relationship Id="rId53" Type="http://schemas.openxmlformats.org/officeDocument/2006/relationships/theme" Target="../theme/theme11.xml"/><Relationship Id="rId5" Type="http://schemas.openxmlformats.org/officeDocument/2006/relationships/slideLayout" Target="../slideLayouts/slideLayout492.xml"/><Relationship Id="rId15" Type="http://schemas.openxmlformats.org/officeDocument/2006/relationships/slideLayout" Target="../slideLayouts/slideLayout502.xml"/><Relationship Id="rId23" Type="http://schemas.openxmlformats.org/officeDocument/2006/relationships/slideLayout" Target="../slideLayouts/slideLayout510.xml"/><Relationship Id="rId28" Type="http://schemas.openxmlformats.org/officeDocument/2006/relationships/slideLayout" Target="../slideLayouts/slideLayout515.xml"/><Relationship Id="rId36" Type="http://schemas.openxmlformats.org/officeDocument/2006/relationships/slideLayout" Target="../slideLayouts/slideLayout523.xml"/><Relationship Id="rId49" Type="http://schemas.openxmlformats.org/officeDocument/2006/relationships/slideLayout" Target="../slideLayouts/slideLayout536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497.xml"/><Relationship Id="rId19" Type="http://schemas.openxmlformats.org/officeDocument/2006/relationships/slideLayout" Target="../slideLayouts/slideLayout506.xml"/><Relationship Id="rId31" Type="http://schemas.openxmlformats.org/officeDocument/2006/relationships/slideLayout" Target="../slideLayouts/slideLayout518.xml"/><Relationship Id="rId44" Type="http://schemas.openxmlformats.org/officeDocument/2006/relationships/slideLayout" Target="../slideLayouts/slideLayout531.xml"/><Relationship Id="rId52" Type="http://schemas.openxmlformats.org/officeDocument/2006/relationships/slideLayout" Target="../slideLayouts/slideLayout539.xml"/><Relationship Id="rId4" Type="http://schemas.openxmlformats.org/officeDocument/2006/relationships/slideLayout" Target="../slideLayouts/slideLayout491.xml"/><Relationship Id="rId9" Type="http://schemas.openxmlformats.org/officeDocument/2006/relationships/slideLayout" Target="../slideLayouts/slideLayout496.xml"/><Relationship Id="rId14" Type="http://schemas.openxmlformats.org/officeDocument/2006/relationships/slideLayout" Target="../slideLayouts/slideLayout501.xml"/><Relationship Id="rId22" Type="http://schemas.openxmlformats.org/officeDocument/2006/relationships/slideLayout" Target="../slideLayouts/slideLayout509.xml"/><Relationship Id="rId27" Type="http://schemas.openxmlformats.org/officeDocument/2006/relationships/slideLayout" Target="../slideLayouts/slideLayout514.xml"/><Relationship Id="rId30" Type="http://schemas.openxmlformats.org/officeDocument/2006/relationships/slideLayout" Target="../slideLayouts/slideLayout517.xml"/><Relationship Id="rId35" Type="http://schemas.openxmlformats.org/officeDocument/2006/relationships/slideLayout" Target="../slideLayouts/slideLayout522.xml"/><Relationship Id="rId43" Type="http://schemas.openxmlformats.org/officeDocument/2006/relationships/slideLayout" Target="../slideLayouts/slideLayout530.xml"/><Relationship Id="rId48" Type="http://schemas.openxmlformats.org/officeDocument/2006/relationships/slideLayout" Target="../slideLayouts/slideLayout535.xml"/><Relationship Id="rId56" Type="http://schemas.openxmlformats.org/officeDocument/2006/relationships/oleObject" Target="../embeddings/oleObject5.bin"/><Relationship Id="rId8" Type="http://schemas.openxmlformats.org/officeDocument/2006/relationships/slideLayout" Target="../slideLayouts/slideLayout495.xml"/><Relationship Id="rId51" Type="http://schemas.openxmlformats.org/officeDocument/2006/relationships/slideLayout" Target="../slideLayouts/slideLayout538.xml"/><Relationship Id="rId3" Type="http://schemas.openxmlformats.org/officeDocument/2006/relationships/slideLayout" Target="../slideLayouts/slideLayout490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2.xml"/><Relationship Id="rId18" Type="http://schemas.openxmlformats.org/officeDocument/2006/relationships/slideLayout" Target="../slideLayouts/slideLayout557.xml"/><Relationship Id="rId26" Type="http://schemas.openxmlformats.org/officeDocument/2006/relationships/slideLayout" Target="../slideLayouts/slideLayout565.xml"/><Relationship Id="rId39" Type="http://schemas.openxmlformats.org/officeDocument/2006/relationships/slideLayout" Target="../slideLayouts/slideLayout578.xml"/><Relationship Id="rId21" Type="http://schemas.openxmlformats.org/officeDocument/2006/relationships/slideLayout" Target="../slideLayouts/slideLayout560.xml"/><Relationship Id="rId34" Type="http://schemas.openxmlformats.org/officeDocument/2006/relationships/slideLayout" Target="../slideLayouts/slideLayout573.xml"/><Relationship Id="rId42" Type="http://schemas.openxmlformats.org/officeDocument/2006/relationships/slideLayout" Target="../slideLayouts/slideLayout581.xml"/><Relationship Id="rId47" Type="http://schemas.openxmlformats.org/officeDocument/2006/relationships/slideLayout" Target="../slideLayouts/slideLayout586.xml"/><Relationship Id="rId50" Type="http://schemas.openxmlformats.org/officeDocument/2006/relationships/slideLayout" Target="../slideLayouts/slideLayout589.xml"/><Relationship Id="rId55" Type="http://schemas.openxmlformats.org/officeDocument/2006/relationships/tags" Target="../tags/tag31.xml"/><Relationship Id="rId7" Type="http://schemas.openxmlformats.org/officeDocument/2006/relationships/slideLayout" Target="../slideLayouts/slideLayout546.xml"/><Relationship Id="rId12" Type="http://schemas.openxmlformats.org/officeDocument/2006/relationships/slideLayout" Target="../slideLayouts/slideLayout551.xml"/><Relationship Id="rId17" Type="http://schemas.openxmlformats.org/officeDocument/2006/relationships/slideLayout" Target="../slideLayouts/slideLayout556.xml"/><Relationship Id="rId25" Type="http://schemas.openxmlformats.org/officeDocument/2006/relationships/slideLayout" Target="../slideLayouts/slideLayout564.xml"/><Relationship Id="rId33" Type="http://schemas.openxmlformats.org/officeDocument/2006/relationships/slideLayout" Target="../slideLayouts/slideLayout572.xml"/><Relationship Id="rId38" Type="http://schemas.openxmlformats.org/officeDocument/2006/relationships/slideLayout" Target="../slideLayouts/slideLayout577.xml"/><Relationship Id="rId46" Type="http://schemas.openxmlformats.org/officeDocument/2006/relationships/slideLayout" Target="../slideLayouts/slideLayout585.xml"/><Relationship Id="rId2" Type="http://schemas.openxmlformats.org/officeDocument/2006/relationships/slideLayout" Target="../slideLayouts/slideLayout541.xml"/><Relationship Id="rId16" Type="http://schemas.openxmlformats.org/officeDocument/2006/relationships/slideLayout" Target="../slideLayouts/slideLayout555.xml"/><Relationship Id="rId20" Type="http://schemas.openxmlformats.org/officeDocument/2006/relationships/slideLayout" Target="../slideLayouts/slideLayout559.xml"/><Relationship Id="rId29" Type="http://schemas.openxmlformats.org/officeDocument/2006/relationships/slideLayout" Target="../slideLayouts/slideLayout568.xml"/><Relationship Id="rId41" Type="http://schemas.openxmlformats.org/officeDocument/2006/relationships/slideLayout" Target="../slideLayouts/slideLayout580.xml"/><Relationship Id="rId54" Type="http://schemas.openxmlformats.org/officeDocument/2006/relationships/tags" Target="../tags/tag30.xml"/><Relationship Id="rId1" Type="http://schemas.openxmlformats.org/officeDocument/2006/relationships/slideLayout" Target="../slideLayouts/slideLayout540.xml"/><Relationship Id="rId6" Type="http://schemas.openxmlformats.org/officeDocument/2006/relationships/slideLayout" Target="../slideLayouts/slideLayout545.xml"/><Relationship Id="rId11" Type="http://schemas.openxmlformats.org/officeDocument/2006/relationships/slideLayout" Target="../slideLayouts/slideLayout550.xml"/><Relationship Id="rId24" Type="http://schemas.openxmlformats.org/officeDocument/2006/relationships/slideLayout" Target="../slideLayouts/slideLayout563.xml"/><Relationship Id="rId32" Type="http://schemas.openxmlformats.org/officeDocument/2006/relationships/slideLayout" Target="../slideLayouts/slideLayout571.xml"/><Relationship Id="rId37" Type="http://schemas.openxmlformats.org/officeDocument/2006/relationships/slideLayout" Target="../slideLayouts/slideLayout576.xml"/><Relationship Id="rId40" Type="http://schemas.openxmlformats.org/officeDocument/2006/relationships/slideLayout" Target="../slideLayouts/slideLayout579.xml"/><Relationship Id="rId45" Type="http://schemas.openxmlformats.org/officeDocument/2006/relationships/slideLayout" Target="../slideLayouts/slideLayout584.xml"/><Relationship Id="rId53" Type="http://schemas.openxmlformats.org/officeDocument/2006/relationships/theme" Target="../theme/theme12.xml"/><Relationship Id="rId5" Type="http://schemas.openxmlformats.org/officeDocument/2006/relationships/slideLayout" Target="../slideLayouts/slideLayout544.xml"/><Relationship Id="rId15" Type="http://schemas.openxmlformats.org/officeDocument/2006/relationships/slideLayout" Target="../slideLayouts/slideLayout554.xml"/><Relationship Id="rId23" Type="http://schemas.openxmlformats.org/officeDocument/2006/relationships/slideLayout" Target="../slideLayouts/slideLayout562.xml"/><Relationship Id="rId28" Type="http://schemas.openxmlformats.org/officeDocument/2006/relationships/slideLayout" Target="../slideLayouts/slideLayout567.xml"/><Relationship Id="rId36" Type="http://schemas.openxmlformats.org/officeDocument/2006/relationships/slideLayout" Target="../slideLayouts/slideLayout575.xml"/><Relationship Id="rId49" Type="http://schemas.openxmlformats.org/officeDocument/2006/relationships/slideLayout" Target="../slideLayouts/slideLayout588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549.xml"/><Relationship Id="rId19" Type="http://schemas.openxmlformats.org/officeDocument/2006/relationships/slideLayout" Target="../slideLayouts/slideLayout558.xml"/><Relationship Id="rId31" Type="http://schemas.openxmlformats.org/officeDocument/2006/relationships/slideLayout" Target="../slideLayouts/slideLayout570.xml"/><Relationship Id="rId44" Type="http://schemas.openxmlformats.org/officeDocument/2006/relationships/slideLayout" Target="../slideLayouts/slideLayout583.xml"/><Relationship Id="rId52" Type="http://schemas.openxmlformats.org/officeDocument/2006/relationships/slideLayout" Target="../slideLayouts/slideLayout591.xml"/><Relationship Id="rId4" Type="http://schemas.openxmlformats.org/officeDocument/2006/relationships/slideLayout" Target="../slideLayouts/slideLayout543.xml"/><Relationship Id="rId9" Type="http://schemas.openxmlformats.org/officeDocument/2006/relationships/slideLayout" Target="../slideLayouts/slideLayout548.xml"/><Relationship Id="rId14" Type="http://schemas.openxmlformats.org/officeDocument/2006/relationships/slideLayout" Target="../slideLayouts/slideLayout553.xml"/><Relationship Id="rId22" Type="http://schemas.openxmlformats.org/officeDocument/2006/relationships/slideLayout" Target="../slideLayouts/slideLayout561.xml"/><Relationship Id="rId27" Type="http://schemas.openxmlformats.org/officeDocument/2006/relationships/slideLayout" Target="../slideLayouts/slideLayout566.xml"/><Relationship Id="rId30" Type="http://schemas.openxmlformats.org/officeDocument/2006/relationships/slideLayout" Target="../slideLayouts/slideLayout569.xml"/><Relationship Id="rId35" Type="http://schemas.openxmlformats.org/officeDocument/2006/relationships/slideLayout" Target="../slideLayouts/slideLayout574.xml"/><Relationship Id="rId43" Type="http://schemas.openxmlformats.org/officeDocument/2006/relationships/slideLayout" Target="../slideLayouts/slideLayout582.xml"/><Relationship Id="rId48" Type="http://schemas.openxmlformats.org/officeDocument/2006/relationships/slideLayout" Target="../slideLayouts/slideLayout587.xml"/><Relationship Id="rId56" Type="http://schemas.openxmlformats.org/officeDocument/2006/relationships/oleObject" Target="../embeddings/oleObject5.bin"/><Relationship Id="rId8" Type="http://schemas.openxmlformats.org/officeDocument/2006/relationships/slideLayout" Target="../slideLayouts/slideLayout547.xml"/><Relationship Id="rId51" Type="http://schemas.openxmlformats.org/officeDocument/2006/relationships/slideLayout" Target="../slideLayouts/slideLayout590.xml"/><Relationship Id="rId3" Type="http://schemas.openxmlformats.org/officeDocument/2006/relationships/slideLayout" Target="../slideLayouts/slideLayout542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4.xml"/><Relationship Id="rId18" Type="http://schemas.openxmlformats.org/officeDocument/2006/relationships/slideLayout" Target="../slideLayouts/slideLayout609.xml"/><Relationship Id="rId26" Type="http://schemas.openxmlformats.org/officeDocument/2006/relationships/slideLayout" Target="../slideLayouts/slideLayout617.xml"/><Relationship Id="rId39" Type="http://schemas.openxmlformats.org/officeDocument/2006/relationships/slideLayout" Target="../slideLayouts/slideLayout630.xml"/><Relationship Id="rId21" Type="http://schemas.openxmlformats.org/officeDocument/2006/relationships/slideLayout" Target="../slideLayouts/slideLayout612.xml"/><Relationship Id="rId34" Type="http://schemas.openxmlformats.org/officeDocument/2006/relationships/slideLayout" Target="../slideLayouts/slideLayout625.xml"/><Relationship Id="rId42" Type="http://schemas.openxmlformats.org/officeDocument/2006/relationships/slideLayout" Target="../slideLayouts/slideLayout633.xml"/><Relationship Id="rId47" Type="http://schemas.openxmlformats.org/officeDocument/2006/relationships/slideLayout" Target="../slideLayouts/slideLayout638.xml"/><Relationship Id="rId50" Type="http://schemas.openxmlformats.org/officeDocument/2006/relationships/slideLayout" Target="../slideLayouts/slideLayout641.xml"/><Relationship Id="rId55" Type="http://schemas.openxmlformats.org/officeDocument/2006/relationships/tags" Target="../tags/tag33.xml"/><Relationship Id="rId7" Type="http://schemas.openxmlformats.org/officeDocument/2006/relationships/slideLayout" Target="../slideLayouts/slideLayout598.xml"/><Relationship Id="rId12" Type="http://schemas.openxmlformats.org/officeDocument/2006/relationships/slideLayout" Target="../slideLayouts/slideLayout603.xml"/><Relationship Id="rId17" Type="http://schemas.openxmlformats.org/officeDocument/2006/relationships/slideLayout" Target="../slideLayouts/slideLayout608.xml"/><Relationship Id="rId25" Type="http://schemas.openxmlformats.org/officeDocument/2006/relationships/slideLayout" Target="../slideLayouts/slideLayout616.xml"/><Relationship Id="rId33" Type="http://schemas.openxmlformats.org/officeDocument/2006/relationships/slideLayout" Target="../slideLayouts/slideLayout624.xml"/><Relationship Id="rId38" Type="http://schemas.openxmlformats.org/officeDocument/2006/relationships/slideLayout" Target="../slideLayouts/slideLayout629.xml"/><Relationship Id="rId46" Type="http://schemas.openxmlformats.org/officeDocument/2006/relationships/slideLayout" Target="../slideLayouts/slideLayout637.xml"/><Relationship Id="rId2" Type="http://schemas.openxmlformats.org/officeDocument/2006/relationships/slideLayout" Target="../slideLayouts/slideLayout593.xml"/><Relationship Id="rId16" Type="http://schemas.openxmlformats.org/officeDocument/2006/relationships/slideLayout" Target="../slideLayouts/slideLayout607.xml"/><Relationship Id="rId20" Type="http://schemas.openxmlformats.org/officeDocument/2006/relationships/slideLayout" Target="../slideLayouts/slideLayout611.xml"/><Relationship Id="rId29" Type="http://schemas.openxmlformats.org/officeDocument/2006/relationships/slideLayout" Target="../slideLayouts/slideLayout620.xml"/><Relationship Id="rId41" Type="http://schemas.openxmlformats.org/officeDocument/2006/relationships/slideLayout" Target="../slideLayouts/slideLayout632.xml"/><Relationship Id="rId54" Type="http://schemas.openxmlformats.org/officeDocument/2006/relationships/tags" Target="../tags/tag32.xml"/><Relationship Id="rId1" Type="http://schemas.openxmlformats.org/officeDocument/2006/relationships/slideLayout" Target="../slideLayouts/slideLayout592.xml"/><Relationship Id="rId6" Type="http://schemas.openxmlformats.org/officeDocument/2006/relationships/slideLayout" Target="../slideLayouts/slideLayout597.xml"/><Relationship Id="rId11" Type="http://schemas.openxmlformats.org/officeDocument/2006/relationships/slideLayout" Target="../slideLayouts/slideLayout602.xml"/><Relationship Id="rId24" Type="http://schemas.openxmlformats.org/officeDocument/2006/relationships/slideLayout" Target="../slideLayouts/slideLayout615.xml"/><Relationship Id="rId32" Type="http://schemas.openxmlformats.org/officeDocument/2006/relationships/slideLayout" Target="../slideLayouts/slideLayout623.xml"/><Relationship Id="rId37" Type="http://schemas.openxmlformats.org/officeDocument/2006/relationships/slideLayout" Target="../slideLayouts/slideLayout628.xml"/><Relationship Id="rId40" Type="http://schemas.openxmlformats.org/officeDocument/2006/relationships/slideLayout" Target="../slideLayouts/slideLayout631.xml"/><Relationship Id="rId45" Type="http://schemas.openxmlformats.org/officeDocument/2006/relationships/slideLayout" Target="../slideLayouts/slideLayout636.xml"/><Relationship Id="rId53" Type="http://schemas.openxmlformats.org/officeDocument/2006/relationships/theme" Target="../theme/theme13.xml"/><Relationship Id="rId5" Type="http://schemas.openxmlformats.org/officeDocument/2006/relationships/slideLayout" Target="../slideLayouts/slideLayout596.xml"/><Relationship Id="rId15" Type="http://schemas.openxmlformats.org/officeDocument/2006/relationships/slideLayout" Target="../slideLayouts/slideLayout606.xml"/><Relationship Id="rId23" Type="http://schemas.openxmlformats.org/officeDocument/2006/relationships/slideLayout" Target="../slideLayouts/slideLayout614.xml"/><Relationship Id="rId28" Type="http://schemas.openxmlformats.org/officeDocument/2006/relationships/slideLayout" Target="../slideLayouts/slideLayout619.xml"/><Relationship Id="rId36" Type="http://schemas.openxmlformats.org/officeDocument/2006/relationships/slideLayout" Target="../slideLayouts/slideLayout627.xml"/><Relationship Id="rId49" Type="http://schemas.openxmlformats.org/officeDocument/2006/relationships/slideLayout" Target="../slideLayouts/slideLayout640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601.xml"/><Relationship Id="rId19" Type="http://schemas.openxmlformats.org/officeDocument/2006/relationships/slideLayout" Target="../slideLayouts/slideLayout610.xml"/><Relationship Id="rId31" Type="http://schemas.openxmlformats.org/officeDocument/2006/relationships/slideLayout" Target="../slideLayouts/slideLayout622.xml"/><Relationship Id="rId44" Type="http://schemas.openxmlformats.org/officeDocument/2006/relationships/slideLayout" Target="../slideLayouts/slideLayout635.xml"/><Relationship Id="rId52" Type="http://schemas.openxmlformats.org/officeDocument/2006/relationships/slideLayout" Target="../slideLayouts/slideLayout643.xml"/><Relationship Id="rId4" Type="http://schemas.openxmlformats.org/officeDocument/2006/relationships/slideLayout" Target="../slideLayouts/slideLayout595.xml"/><Relationship Id="rId9" Type="http://schemas.openxmlformats.org/officeDocument/2006/relationships/slideLayout" Target="../slideLayouts/slideLayout600.xml"/><Relationship Id="rId14" Type="http://schemas.openxmlformats.org/officeDocument/2006/relationships/slideLayout" Target="../slideLayouts/slideLayout605.xml"/><Relationship Id="rId22" Type="http://schemas.openxmlformats.org/officeDocument/2006/relationships/slideLayout" Target="../slideLayouts/slideLayout613.xml"/><Relationship Id="rId27" Type="http://schemas.openxmlformats.org/officeDocument/2006/relationships/slideLayout" Target="../slideLayouts/slideLayout618.xml"/><Relationship Id="rId30" Type="http://schemas.openxmlformats.org/officeDocument/2006/relationships/slideLayout" Target="../slideLayouts/slideLayout621.xml"/><Relationship Id="rId35" Type="http://schemas.openxmlformats.org/officeDocument/2006/relationships/slideLayout" Target="../slideLayouts/slideLayout626.xml"/><Relationship Id="rId43" Type="http://schemas.openxmlformats.org/officeDocument/2006/relationships/slideLayout" Target="../slideLayouts/slideLayout634.xml"/><Relationship Id="rId48" Type="http://schemas.openxmlformats.org/officeDocument/2006/relationships/slideLayout" Target="../slideLayouts/slideLayout639.xml"/><Relationship Id="rId56" Type="http://schemas.openxmlformats.org/officeDocument/2006/relationships/oleObject" Target="../embeddings/oleObject5.bin"/><Relationship Id="rId8" Type="http://schemas.openxmlformats.org/officeDocument/2006/relationships/slideLayout" Target="../slideLayouts/slideLayout599.xml"/><Relationship Id="rId51" Type="http://schemas.openxmlformats.org/officeDocument/2006/relationships/slideLayout" Target="../slideLayouts/slideLayout642.xml"/><Relationship Id="rId3" Type="http://schemas.openxmlformats.org/officeDocument/2006/relationships/slideLayout" Target="../slideLayouts/slideLayout594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6.xml"/><Relationship Id="rId18" Type="http://schemas.openxmlformats.org/officeDocument/2006/relationships/slideLayout" Target="../slideLayouts/slideLayout661.xml"/><Relationship Id="rId26" Type="http://schemas.openxmlformats.org/officeDocument/2006/relationships/slideLayout" Target="../slideLayouts/slideLayout669.xml"/><Relationship Id="rId39" Type="http://schemas.openxmlformats.org/officeDocument/2006/relationships/tags" Target="../tags/tag39.xml"/><Relationship Id="rId21" Type="http://schemas.openxmlformats.org/officeDocument/2006/relationships/slideLayout" Target="../slideLayouts/slideLayout664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7" Type="http://schemas.openxmlformats.org/officeDocument/2006/relationships/slideLayout" Target="../slideLayouts/slideLayout650.xml"/><Relationship Id="rId2" Type="http://schemas.openxmlformats.org/officeDocument/2006/relationships/slideLayout" Target="../slideLayouts/slideLayout645.xml"/><Relationship Id="rId16" Type="http://schemas.openxmlformats.org/officeDocument/2006/relationships/slideLayout" Target="../slideLayouts/slideLayout659.xml"/><Relationship Id="rId29" Type="http://schemas.openxmlformats.org/officeDocument/2006/relationships/slideLayout" Target="../slideLayouts/slideLayout672.xml"/><Relationship Id="rId1" Type="http://schemas.openxmlformats.org/officeDocument/2006/relationships/slideLayout" Target="../slideLayouts/slideLayout644.xml"/><Relationship Id="rId6" Type="http://schemas.openxmlformats.org/officeDocument/2006/relationships/slideLayout" Target="../slideLayouts/slideLayout649.xml"/><Relationship Id="rId11" Type="http://schemas.openxmlformats.org/officeDocument/2006/relationships/slideLayout" Target="../slideLayouts/slideLayout654.xml"/><Relationship Id="rId24" Type="http://schemas.openxmlformats.org/officeDocument/2006/relationships/slideLayout" Target="../slideLayouts/slideLayout667.xml"/><Relationship Id="rId32" Type="http://schemas.openxmlformats.org/officeDocument/2006/relationships/slideLayout" Target="../slideLayouts/slideLayout675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66" Type="http://schemas.openxmlformats.org/officeDocument/2006/relationships/tags" Target="../tags/tag66.xml"/><Relationship Id="rId5" Type="http://schemas.openxmlformats.org/officeDocument/2006/relationships/slideLayout" Target="../slideLayouts/slideLayout648.xml"/><Relationship Id="rId15" Type="http://schemas.openxmlformats.org/officeDocument/2006/relationships/slideLayout" Target="../slideLayouts/slideLayout658.xml"/><Relationship Id="rId23" Type="http://schemas.openxmlformats.org/officeDocument/2006/relationships/slideLayout" Target="../slideLayouts/slideLayout666.xml"/><Relationship Id="rId28" Type="http://schemas.openxmlformats.org/officeDocument/2006/relationships/slideLayout" Target="../slideLayouts/slideLayout671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61" Type="http://schemas.openxmlformats.org/officeDocument/2006/relationships/tags" Target="../tags/tag61.xml"/><Relationship Id="rId10" Type="http://schemas.openxmlformats.org/officeDocument/2006/relationships/slideLayout" Target="../slideLayouts/slideLayout653.xml"/><Relationship Id="rId19" Type="http://schemas.openxmlformats.org/officeDocument/2006/relationships/slideLayout" Target="../slideLayouts/slideLayout662.xml"/><Relationship Id="rId31" Type="http://schemas.openxmlformats.org/officeDocument/2006/relationships/slideLayout" Target="../slideLayouts/slideLayout674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4" Type="http://schemas.openxmlformats.org/officeDocument/2006/relationships/slideLayout" Target="../slideLayouts/slideLayout647.xml"/><Relationship Id="rId9" Type="http://schemas.openxmlformats.org/officeDocument/2006/relationships/slideLayout" Target="../slideLayouts/slideLayout652.xml"/><Relationship Id="rId14" Type="http://schemas.openxmlformats.org/officeDocument/2006/relationships/slideLayout" Target="../slideLayouts/slideLayout657.xml"/><Relationship Id="rId22" Type="http://schemas.openxmlformats.org/officeDocument/2006/relationships/slideLayout" Target="../slideLayouts/slideLayout665.xml"/><Relationship Id="rId27" Type="http://schemas.openxmlformats.org/officeDocument/2006/relationships/slideLayout" Target="../slideLayouts/slideLayout670.xml"/><Relationship Id="rId30" Type="http://schemas.openxmlformats.org/officeDocument/2006/relationships/slideLayout" Target="../slideLayouts/slideLayout673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64" Type="http://schemas.openxmlformats.org/officeDocument/2006/relationships/tags" Target="../tags/tag64.xml"/><Relationship Id="rId69" Type="http://schemas.openxmlformats.org/officeDocument/2006/relationships/image" Target="../media/image45.png"/><Relationship Id="rId8" Type="http://schemas.openxmlformats.org/officeDocument/2006/relationships/slideLayout" Target="../slideLayouts/slideLayout651.xml"/><Relationship Id="rId51" Type="http://schemas.openxmlformats.org/officeDocument/2006/relationships/tags" Target="../tags/tag51.xml"/><Relationship Id="rId3" Type="http://schemas.openxmlformats.org/officeDocument/2006/relationships/slideLayout" Target="../slideLayouts/slideLayout646.xml"/><Relationship Id="rId12" Type="http://schemas.openxmlformats.org/officeDocument/2006/relationships/slideLayout" Target="../slideLayouts/slideLayout655.xml"/><Relationship Id="rId17" Type="http://schemas.openxmlformats.org/officeDocument/2006/relationships/slideLayout" Target="../slideLayouts/slideLayout660.xml"/><Relationship Id="rId25" Type="http://schemas.openxmlformats.org/officeDocument/2006/relationships/slideLayout" Target="../slideLayouts/slideLayout668.xml"/><Relationship Id="rId33" Type="http://schemas.openxmlformats.org/officeDocument/2006/relationships/theme" Target="../theme/theme14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slideLayout" Target="../slideLayouts/slideLayout663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image" Target="../media/image46.svg"/></Relationships>
</file>

<file path=ppt/slideMasters/_rels/slideMaster1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8.xml"/><Relationship Id="rId18" Type="http://schemas.openxmlformats.org/officeDocument/2006/relationships/slideLayout" Target="../slideLayouts/slideLayout693.xml"/><Relationship Id="rId26" Type="http://schemas.openxmlformats.org/officeDocument/2006/relationships/slideLayout" Target="../slideLayouts/slideLayout701.xml"/><Relationship Id="rId39" Type="http://schemas.openxmlformats.org/officeDocument/2006/relationships/tags" Target="../tags/tag139.xml"/><Relationship Id="rId21" Type="http://schemas.openxmlformats.org/officeDocument/2006/relationships/slideLayout" Target="../slideLayouts/slideLayout696.xml"/><Relationship Id="rId34" Type="http://schemas.openxmlformats.org/officeDocument/2006/relationships/tags" Target="../tags/tag134.xml"/><Relationship Id="rId42" Type="http://schemas.openxmlformats.org/officeDocument/2006/relationships/tags" Target="../tags/tag142.xml"/><Relationship Id="rId47" Type="http://schemas.openxmlformats.org/officeDocument/2006/relationships/tags" Target="../tags/tag147.xml"/><Relationship Id="rId50" Type="http://schemas.openxmlformats.org/officeDocument/2006/relationships/tags" Target="../tags/tag150.xml"/><Relationship Id="rId55" Type="http://schemas.openxmlformats.org/officeDocument/2006/relationships/tags" Target="../tags/tag155.xml"/><Relationship Id="rId63" Type="http://schemas.openxmlformats.org/officeDocument/2006/relationships/tags" Target="../tags/tag163.xml"/><Relationship Id="rId7" Type="http://schemas.openxmlformats.org/officeDocument/2006/relationships/slideLayout" Target="../slideLayouts/slideLayout682.xml"/><Relationship Id="rId2" Type="http://schemas.openxmlformats.org/officeDocument/2006/relationships/slideLayout" Target="../slideLayouts/slideLayout677.xml"/><Relationship Id="rId16" Type="http://schemas.openxmlformats.org/officeDocument/2006/relationships/slideLayout" Target="../slideLayouts/slideLayout691.xml"/><Relationship Id="rId20" Type="http://schemas.openxmlformats.org/officeDocument/2006/relationships/slideLayout" Target="../slideLayouts/slideLayout695.xml"/><Relationship Id="rId29" Type="http://schemas.openxmlformats.org/officeDocument/2006/relationships/slideLayout" Target="../slideLayouts/slideLayout704.xml"/><Relationship Id="rId41" Type="http://schemas.openxmlformats.org/officeDocument/2006/relationships/tags" Target="../tags/tag141.xml"/><Relationship Id="rId54" Type="http://schemas.openxmlformats.org/officeDocument/2006/relationships/tags" Target="../tags/tag154.xml"/><Relationship Id="rId62" Type="http://schemas.openxmlformats.org/officeDocument/2006/relationships/tags" Target="../tags/tag162.xml"/><Relationship Id="rId1" Type="http://schemas.openxmlformats.org/officeDocument/2006/relationships/slideLayout" Target="../slideLayouts/slideLayout676.xml"/><Relationship Id="rId6" Type="http://schemas.openxmlformats.org/officeDocument/2006/relationships/slideLayout" Target="../slideLayouts/slideLayout681.xml"/><Relationship Id="rId11" Type="http://schemas.openxmlformats.org/officeDocument/2006/relationships/slideLayout" Target="../slideLayouts/slideLayout686.xml"/><Relationship Id="rId24" Type="http://schemas.openxmlformats.org/officeDocument/2006/relationships/slideLayout" Target="../slideLayouts/slideLayout699.xml"/><Relationship Id="rId32" Type="http://schemas.openxmlformats.org/officeDocument/2006/relationships/tags" Target="../tags/tag132.xml"/><Relationship Id="rId37" Type="http://schemas.openxmlformats.org/officeDocument/2006/relationships/tags" Target="../tags/tag137.xml"/><Relationship Id="rId40" Type="http://schemas.openxmlformats.org/officeDocument/2006/relationships/tags" Target="../tags/tag140.xml"/><Relationship Id="rId45" Type="http://schemas.openxmlformats.org/officeDocument/2006/relationships/tags" Target="../tags/tag145.xml"/><Relationship Id="rId53" Type="http://schemas.openxmlformats.org/officeDocument/2006/relationships/tags" Target="../tags/tag153.xml"/><Relationship Id="rId58" Type="http://schemas.openxmlformats.org/officeDocument/2006/relationships/tags" Target="../tags/tag158.xml"/><Relationship Id="rId5" Type="http://schemas.openxmlformats.org/officeDocument/2006/relationships/slideLayout" Target="../slideLayouts/slideLayout680.xml"/><Relationship Id="rId15" Type="http://schemas.openxmlformats.org/officeDocument/2006/relationships/slideLayout" Target="../slideLayouts/slideLayout690.xml"/><Relationship Id="rId23" Type="http://schemas.openxmlformats.org/officeDocument/2006/relationships/slideLayout" Target="../slideLayouts/slideLayout698.xml"/><Relationship Id="rId28" Type="http://schemas.openxmlformats.org/officeDocument/2006/relationships/slideLayout" Target="../slideLayouts/slideLayout703.xml"/><Relationship Id="rId36" Type="http://schemas.openxmlformats.org/officeDocument/2006/relationships/tags" Target="../tags/tag136.xml"/><Relationship Id="rId49" Type="http://schemas.openxmlformats.org/officeDocument/2006/relationships/tags" Target="../tags/tag149.xml"/><Relationship Id="rId57" Type="http://schemas.openxmlformats.org/officeDocument/2006/relationships/tags" Target="../tags/tag157.xml"/><Relationship Id="rId61" Type="http://schemas.openxmlformats.org/officeDocument/2006/relationships/tags" Target="../tags/tag161.xml"/><Relationship Id="rId10" Type="http://schemas.openxmlformats.org/officeDocument/2006/relationships/slideLayout" Target="../slideLayouts/slideLayout685.xml"/><Relationship Id="rId19" Type="http://schemas.openxmlformats.org/officeDocument/2006/relationships/slideLayout" Target="../slideLayouts/slideLayout694.xml"/><Relationship Id="rId31" Type="http://schemas.openxmlformats.org/officeDocument/2006/relationships/theme" Target="../theme/theme15.xml"/><Relationship Id="rId44" Type="http://schemas.openxmlformats.org/officeDocument/2006/relationships/tags" Target="../tags/tag144.xml"/><Relationship Id="rId52" Type="http://schemas.openxmlformats.org/officeDocument/2006/relationships/tags" Target="../tags/tag152.xml"/><Relationship Id="rId60" Type="http://schemas.openxmlformats.org/officeDocument/2006/relationships/tags" Target="../tags/tag160.xml"/><Relationship Id="rId65" Type="http://schemas.openxmlformats.org/officeDocument/2006/relationships/image" Target="../media/image46.svg"/><Relationship Id="rId4" Type="http://schemas.openxmlformats.org/officeDocument/2006/relationships/slideLayout" Target="../slideLayouts/slideLayout679.xml"/><Relationship Id="rId9" Type="http://schemas.openxmlformats.org/officeDocument/2006/relationships/slideLayout" Target="../slideLayouts/slideLayout684.xml"/><Relationship Id="rId14" Type="http://schemas.openxmlformats.org/officeDocument/2006/relationships/slideLayout" Target="../slideLayouts/slideLayout689.xml"/><Relationship Id="rId22" Type="http://schemas.openxmlformats.org/officeDocument/2006/relationships/slideLayout" Target="../slideLayouts/slideLayout697.xml"/><Relationship Id="rId27" Type="http://schemas.openxmlformats.org/officeDocument/2006/relationships/slideLayout" Target="../slideLayouts/slideLayout702.xml"/><Relationship Id="rId30" Type="http://schemas.openxmlformats.org/officeDocument/2006/relationships/slideLayout" Target="../slideLayouts/slideLayout705.xml"/><Relationship Id="rId35" Type="http://schemas.openxmlformats.org/officeDocument/2006/relationships/tags" Target="../tags/tag135.xml"/><Relationship Id="rId43" Type="http://schemas.openxmlformats.org/officeDocument/2006/relationships/tags" Target="../tags/tag143.xml"/><Relationship Id="rId48" Type="http://schemas.openxmlformats.org/officeDocument/2006/relationships/tags" Target="../tags/tag148.xml"/><Relationship Id="rId56" Type="http://schemas.openxmlformats.org/officeDocument/2006/relationships/tags" Target="../tags/tag156.xml"/><Relationship Id="rId64" Type="http://schemas.openxmlformats.org/officeDocument/2006/relationships/image" Target="../media/image45.png"/><Relationship Id="rId8" Type="http://schemas.openxmlformats.org/officeDocument/2006/relationships/slideLayout" Target="../slideLayouts/slideLayout683.xml"/><Relationship Id="rId51" Type="http://schemas.openxmlformats.org/officeDocument/2006/relationships/tags" Target="../tags/tag151.xml"/><Relationship Id="rId3" Type="http://schemas.openxmlformats.org/officeDocument/2006/relationships/slideLayout" Target="../slideLayouts/slideLayout678.xml"/><Relationship Id="rId12" Type="http://schemas.openxmlformats.org/officeDocument/2006/relationships/slideLayout" Target="../slideLayouts/slideLayout687.xml"/><Relationship Id="rId17" Type="http://schemas.openxmlformats.org/officeDocument/2006/relationships/slideLayout" Target="../slideLayouts/slideLayout692.xml"/><Relationship Id="rId25" Type="http://schemas.openxmlformats.org/officeDocument/2006/relationships/slideLayout" Target="../slideLayouts/slideLayout700.xml"/><Relationship Id="rId33" Type="http://schemas.openxmlformats.org/officeDocument/2006/relationships/tags" Target="../tags/tag133.xml"/><Relationship Id="rId38" Type="http://schemas.openxmlformats.org/officeDocument/2006/relationships/tags" Target="../tags/tag138.xml"/><Relationship Id="rId46" Type="http://schemas.openxmlformats.org/officeDocument/2006/relationships/tags" Target="../tags/tag146.xml"/><Relationship Id="rId59" Type="http://schemas.openxmlformats.org/officeDocument/2006/relationships/tags" Target="../tags/tag15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92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34" Type="http://schemas.openxmlformats.org/officeDocument/2006/relationships/slideLayout" Target="../slideLayouts/slideLayout87.xml"/><Relationship Id="rId42" Type="http://schemas.openxmlformats.org/officeDocument/2006/relationships/slideLayout" Target="../slideLayouts/slideLayout95.xml"/><Relationship Id="rId47" Type="http://schemas.openxmlformats.org/officeDocument/2006/relationships/theme" Target="../theme/theme2.xml"/><Relationship Id="rId50" Type="http://schemas.openxmlformats.org/officeDocument/2006/relationships/oleObject" Target="../embeddings/oleObject2.bin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86.xml"/><Relationship Id="rId38" Type="http://schemas.openxmlformats.org/officeDocument/2006/relationships/slideLayout" Target="../slideLayouts/slideLayout91.xml"/><Relationship Id="rId46" Type="http://schemas.openxmlformats.org/officeDocument/2006/relationships/slideLayout" Target="../slideLayouts/slideLayout99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slideLayout" Target="../slideLayouts/slideLayout82.xml"/><Relationship Id="rId41" Type="http://schemas.openxmlformats.org/officeDocument/2006/relationships/slideLayout" Target="../slideLayouts/slideLayout94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slideLayout" Target="../slideLayouts/slideLayout85.xml"/><Relationship Id="rId37" Type="http://schemas.openxmlformats.org/officeDocument/2006/relationships/slideLayout" Target="../slideLayouts/slideLayout90.xml"/><Relationship Id="rId40" Type="http://schemas.openxmlformats.org/officeDocument/2006/relationships/slideLayout" Target="../slideLayouts/slideLayout93.xml"/><Relationship Id="rId45" Type="http://schemas.openxmlformats.org/officeDocument/2006/relationships/slideLayout" Target="../slideLayouts/slideLayout98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slideLayout" Target="../slideLayouts/slideLayout81.xml"/><Relationship Id="rId36" Type="http://schemas.openxmlformats.org/officeDocument/2006/relationships/slideLayout" Target="../slideLayouts/slideLayout89.xml"/><Relationship Id="rId49" Type="http://schemas.openxmlformats.org/officeDocument/2006/relationships/tags" Target="../tags/tag7.xml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84.xml"/><Relationship Id="rId44" Type="http://schemas.openxmlformats.org/officeDocument/2006/relationships/slideLayout" Target="../slideLayouts/slideLayout97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slideLayout" Target="../slideLayouts/slideLayout80.xml"/><Relationship Id="rId30" Type="http://schemas.openxmlformats.org/officeDocument/2006/relationships/slideLayout" Target="../slideLayouts/slideLayout83.xml"/><Relationship Id="rId35" Type="http://schemas.openxmlformats.org/officeDocument/2006/relationships/slideLayout" Target="../slideLayouts/slideLayout88.xml"/><Relationship Id="rId43" Type="http://schemas.openxmlformats.org/officeDocument/2006/relationships/slideLayout" Target="../slideLayouts/slideLayout96.xml"/><Relationship Id="rId48" Type="http://schemas.openxmlformats.org/officeDocument/2006/relationships/tags" Target="../tags/tag6.xml"/><Relationship Id="rId8" Type="http://schemas.openxmlformats.org/officeDocument/2006/relationships/slideLayout" Target="../slideLayouts/slideLayout61.xml"/><Relationship Id="rId51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theme" Target="../theme/theme3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slideLayout" Target="../slideLayouts/slideLayout147.xml"/><Relationship Id="rId39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42.xml"/><Relationship Id="rId34" Type="http://schemas.openxmlformats.org/officeDocument/2006/relationships/slideLayout" Target="../slideLayouts/slideLayout155.xml"/><Relationship Id="rId42" Type="http://schemas.openxmlformats.org/officeDocument/2006/relationships/slideLayout" Target="../slideLayouts/slideLayout163.xml"/><Relationship Id="rId47" Type="http://schemas.openxmlformats.org/officeDocument/2006/relationships/slideLayout" Target="../slideLayouts/slideLayout168.xml"/><Relationship Id="rId50" Type="http://schemas.openxmlformats.org/officeDocument/2006/relationships/slideLayout" Target="../slideLayouts/slideLayout171.xml"/><Relationship Id="rId55" Type="http://schemas.openxmlformats.org/officeDocument/2006/relationships/tags" Target="../tags/tag13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slideLayout" Target="../slideLayouts/slideLayout154.xml"/><Relationship Id="rId38" Type="http://schemas.openxmlformats.org/officeDocument/2006/relationships/slideLayout" Target="../slideLayouts/slideLayout159.xml"/><Relationship Id="rId46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29" Type="http://schemas.openxmlformats.org/officeDocument/2006/relationships/slideLayout" Target="../slideLayouts/slideLayout150.xml"/><Relationship Id="rId41" Type="http://schemas.openxmlformats.org/officeDocument/2006/relationships/slideLayout" Target="../slideLayouts/slideLayout162.xml"/><Relationship Id="rId54" Type="http://schemas.openxmlformats.org/officeDocument/2006/relationships/tags" Target="../tags/tag12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slideLayout" Target="../slideLayouts/slideLayout153.xml"/><Relationship Id="rId37" Type="http://schemas.openxmlformats.org/officeDocument/2006/relationships/slideLayout" Target="../slideLayouts/slideLayout158.xml"/><Relationship Id="rId40" Type="http://schemas.openxmlformats.org/officeDocument/2006/relationships/slideLayout" Target="../slideLayouts/slideLayout161.xml"/><Relationship Id="rId45" Type="http://schemas.openxmlformats.org/officeDocument/2006/relationships/slideLayout" Target="../slideLayouts/slideLayout166.xml"/><Relationship Id="rId53" Type="http://schemas.openxmlformats.org/officeDocument/2006/relationships/theme" Target="../theme/theme4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slideLayout" Target="../slideLayouts/slideLayout149.xml"/><Relationship Id="rId36" Type="http://schemas.openxmlformats.org/officeDocument/2006/relationships/slideLayout" Target="../slideLayouts/slideLayout157.xml"/><Relationship Id="rId49" Type="http://schemas.openxmlformats.org/officeDocument/2006/relationships/slideLayout" Target="../slideLayouts/slideLayout170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slideLayout" Target="../slideLayouts/slideLayout152.xml"/><Relationship Id="rId44" Type="http://schemas.openxmlformats.org/officeDocument/2006/relationships/slideLayout" Target="../slideLayouts/slideLayout165.xml"/><Relationship Id="rId52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slideLayout" Target="../slideLayouts/slideLayout148.xml"/><Relationship Id="rId30" Type="http://schemas.openxmlformats.org/officeDocument/2006/relationships/slideLayout" Target="../slideLayouts/slideLayout151.xml"/><Relationship Id="rId35" Type="http://schemas.openxmlformats.org/officeDocument/2006/relationships/slideLayout" Target="../slideLayouts/slideLayout156.xml"/><Relationship Id="rId43" Type="http://schemas.openxmlformats.org/officeDocument/2006/relationships/slideLayout" Target="../slideLayouts/slideLayout164.xml"/><Relationship Id="rId48" Type="http://schemas.openxmlformats.org/officeDocument/2006/relationships/slideLayout" Target="../slideLayouts/slideLayout169.xml"/><Relationship Id="rId56" Type="http://schemas.openxmlformats.org/officeDocument/2006/relationships/oleObject" Target="../embeddings/oleObject5.bin"/><Relationship Id="rId8" Type="http://schemas.openxmlformats.org/officeDocument/2006/relationships/slideLayout" Target="../slideLayouts/slideLayout129.xml"/><Relationship Id="rId51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2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6.xml"/><Relationship Id="rId18" Type="http://schemas.openxmlformats.org/officeDocument/2006/relationships/slideLayout" Target="../slideLayouts/slideLayout191.xml"/><Relationship Id="rId26" Type="http://schemas.openxmlformats.org/officeDocument/2006/relationships/slideLayout" Target="../slideLayouts/slideLayout199.xml"/><Relationship Id="rId39" Type="http://schemas.openxmlformats.org/officeDocument/2006/relationships/slideLayout" Target="../slideLayouts/slideLayout212.xml"/><Relationship Id="rId21" Type="http://schemas.openxmlformats.org/officeDocument/2006/relationships/slideLayout" Target="../slideLayouts/slideLayout194.xml"/><Relationship Id="rId34" Type="http://schemas.openxmlformats.org/officeDocument/2006/relationships/slideLayout" Target="../slideLayouts/slideLayout207.xml"/><Relationship Id="rId42" Type="http://schemas.openxmlformats.org/officeDocument/2006/relationships/slideLayout" Target="../slideLayouts/slideLayout215.xml"/><Relationship Id="rId47" Type="http://schemas.openxmlformats.org/officeDocument/2006/relationships/slideLayout" Target="../slideLayouts/slideLayout220.xml"/><Relationship Id="rId50" Type="http://schemas.openxmlformats.org/officeDocument/2006/relationships/slideLayout" Target="../slideLayouts/slideLayout223.xml"/><Relationship Id="rId55" Type="http://schemas.openxmlformats.org/officeDocument/2006/relationships/tags" Target="../tags/tag15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slideLayout" Target="../slideLayouts/slideLayout190.xml"/><Relationship Id="rId25" Type="http://schemas.openxmlformats.org/officeDocument/2006/relationships/slideLayout" Target="../slideLayouts/slideLayout198.xml"/><Relationship Id="rId33" Type="http://schemas.openxmlformats.org/officeDocument/2006/relationships/slideLayout" Target="../slideLayouts/slideLayout206.xml"/><Relationship Id="rId38" Type="http://schemas.openxmlformats.org/officeDocument/2006/relationships/slideLayout" Target="../slideLayouts/slideLayout211.xml"/><Relationship Id="rId46" Type="http://schemas.openxmlformats.org/officeDocument/2006/relationships/slideLayout" Target="../slideLayouts/slideLayout219.xml"/><Relationship Id="rId2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89.xml"/><Relationship Id="rId20" Type="http://schemas.openxmlformats.org/officeDocument/2006/relationships/slideLayout" Target="../slideLayouts/slideLayout193.xml"/><Relationship Id="rId29" Type="http://schemas.openxmlformats.org/officeDocument/2006/relationships/slideLayout" Target="../slideLayouts/slideLayout202.xml"/><Relationship Id="rId41" Type="http://schemas.openxmlformats.org/officeDocument/2006/relationships/slideLayout" Target="../slideLayouts/slideLayout214.xml"/><Relationship Id="rId54" Type="http://schemas.openxmlformats.org/officeDocument/2006/relationships/tags" Target="../tags/tag14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24" Type="http://schemas.openxmlformats.org/officeDocument/2006/relationships/slideLayout" Target="../slideLayouts/slideLayout197.xml"/><Relationship Id="rId32" Type="http://schemas.openxmlformats.org/officeDocument/2006/relationships/slideLayout" Target="../slideLayouts/slideLayout205.xml"/><Relationship Id="rId37" Type="http://schemas.openxmlformats.org/officeDocument/2006/relationships/slideLayout" Target="../slideLayouts/slideLayout210.xml"/><Relationship Id="rId40" Type="http://schemas.openxmlformats.org/officeDocument/2006/relationships/slideLayout" Target="../slideLayouts/slideLayout213.xml"/><Relationship Id="rId45" Type="http://schemas.openxmlformats.org/officeDocument/2006/relationships/slideLayout" Target="../slideLayouts/slideLayout218.xml"/><Relationship Id="rId53" Type="http://schemas.openxmlformats.org/officeDocument/2006/relationships/theme" Target="../theme/theme5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23" Type="http://schemas.openxmlformats.org/officeDocument/2006/relationships/slideLayout" Target="../slideLayouts/slideLayout196.xml"/><Relationship Id="rId28" Type="http://schemas.openxmlformats.org/officeDocument/2006/relationships/slideLayout" Target="../slideLayouts/slideLayout201.xml"/><Relationship Id="rId36" Type="http://schemas.openxmlformats.org/officeDocument/2006/relationships/slideLayout" Target="../slideLayouts/slideLayout209.xml"/><Relationship Id="rId49" Type="http://schemas.openxmlformats.org/officeDocument/2006/relationships/slideLayout" Target="../slideLayouts/slideLayout222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183.xml"/><Relationship Id="rId19" Type="http://schemas.openxmlformats.org/officeDocument/2006/relationships/slideLayout" Target="../slideLayouts/slideLayout192.xml"/><Relationship Id="rId31" Type="http://schemas.openxmlformats.org/officeDocument/2006/relationships/slideLayout" Target="../slideLayouts/slideLayout204.xml"/><Relationship Id="rId44" Type="http://schemas.openxmlformats.org/officeDocument/2006/relationships/slideLayout" Target="../slideLayouts/slideLayout217.xml"/><Relationship Id="rId52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Relationship Id="rId22" Type="http://schemas.openxmlformats.org/officeDocument/2006/relationships/slideLayout" Target="../slideLayouts/slideLayout195.xml"/><Relationship Id="rId27" Type="http://schemas.openxmlformats.org/officeDocument/2006/relationships/slideLayout" Target="../slideLayouts/slideLayout200.xml"/><Relationship Id="rId30" Type="http://schemas.openxmlformats.org/officeDocument/2006/relationships/slideLayout" Target="../slideLayouts/slideLayout203.xml"/><Relationship Id="rId35" Type="http://schemas.openxmlformats.org/officeDocument/2006/relationships/slideLayout" Target="../slideLayouts/slideLayout208.xml"/><Relationship Id="rId43" Type="http://schemas.openxmlformats.org/officeDocument/2006/relationships/slideLayout" Target="../slideLayouts/slideLayout216.xml"/><Relationship Id="rId48" Type="http://schemas.openxmlformats.org/officeDocument/2006/relationships/slideLayout" Target="../slideLayouts/slideLayout221.xml"/><Relationship Id="rId56" Type="http://schemas.openxmlformats.org/officeDocument/2006/relationships/oleObject" Target="../embeddings/oleObject5.bin"/><Relationship Id="rId8" Type="http://schemas.openxmlformats.org/officeDocument/2006/relationships/slideLayout" Target="../slideLayouts/slideLayout181.xml"/><Relationship Id="rId51" Type="http://schemas.openxmlformats.org/officeDocument/2006/relationships/slideLayout" Target="../slideLayouts/slideLayout224.xml"/><Relationship Id="rId3" Type="http://schemas.openxmlformats.org/officeDocument/2006/relationships/slideLayout" Target="../slideLayouts/slideLayout176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8.xml"/><Relationship Id="rId18" Type="http://schemas.openxmlformats.org/officeDocument/2006/relationships/slideLayout" Target="../slideLayouts/slideLayout243.xml"/><Relationship Id="rId26" Type="http://schemas.openxmlformats.org/officeDocument/2006/relationships/slideLayout" Target="../slideLayouts/slideLayout251.xml"/><Relationship Id="rId39" Type="http://schemas.openxmlformats.org/officeDocument/2006/relationships/slideLayout" Target="../slideLayouts/slideLayout264.xml"/><Relationship Id="rId21" Type="http://schemas.openxmlformats.org/officeDocument/2006/relationships/slideLayout" Target="../slideLayouts/slideLayout246.xml"/><Relationship Id="rId34" Type="http://schemas.openxmlformats.org/officeDocument/2006/relationships/slideLayout" Target="../slideLayouts/slideLayout259.xml"/><Relationship Id="rId42" Type="http://schemas.openxmlformats.org/officeDocument/2006/relationships/slideLayout" Target="../slideLayouts/slideLayout267.xml"/><Relationship Id="rId47" Type="http://schemas.openxmlformats.org/officeDocument/2006/relationships/slideLayout" Target="../slideLayouts/slideLayout272.xml"/><Relationship Id="rId50" Type="http://schemas.openxmlformats.org/officeDocument/2006/relationships/slideLayout" Target="../slideLayouts/slideLayout275.xml"/><Relationship Id="rId55" Type="http://schemas.openxmlformats.org/officeDocument/2006/relationships/tags" Target="../tags/tag17.xml"/><Relationship Id="rId7" Type="http://schemas.openxmlformats.org/officeDocument/2006/relationships/slideLayout" Target="../slideLayouts/slideLayout232.xml"/><Relationship Id="rId12" Type="http://schemas.openxmlformats.org/officeDocument/2006/relationships/slideLayout" Target="../slideLayouts/slideLayout237.xml"/><Relationship Id="rId17" Type="http://schemas.openxmlformats.org/officeDocument/2006/relationships/slideLayout" Target="../slideLayouts/slideLayout242.xml"/><Relationship Id="rId25" Type="http://schemas.openxmlformats.org/officeDocument/2006/relationships/slideLayout" Target="../slideLayouts/slideLayout250.xml"/><Relationship Id="rId33" Type="http://schemas.openxmlformats.org/officeDocument/2006/relationships/slideLayout" Target="../slideLayouts/slideLayout258.xml"/><Relationship Id="rId38" Type="http://schemas.openxmlformats.org/officeDocument/2006/relationships/slideLayout" Target="../slideLayouts/slideLayout263.xml"/><Relationship Id="rId46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27.xml"/><Relationship Id="rId16" Type="http://schemas.openxmlformats.org/officeDocument/2006/relationships/slideLayout" Target="../slideLayouts/slideLayout241.xml"/><Relationship Id="rId20" Type="http://schemas.openxmlformats.org/officeDocument/2006/relationships/slideLayout" Target="../slideLayouts/slideLayout245.xml"/><Relationship Id="rId29" Type="http://schemas.openxmlformats.org/officeDocument/2006/relationships/slideLayout" Target="../slideLayouts/slideLayout254.xml"/><Relationship Id="rId41" Type="http://schemas.openxmlformats.org/officeDocument/2006/relationships/slideLayout" Target="../slideLayouts/slideLayout266.xml"/><Relationship Id="rId54" Type="http://schemas.openxmlformats.org/officeDocument/2006/relationships/tags" Target="../tags/tag16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1" Type="http://schemas.openxmlformats.org/officeDocument/2006/relationships/slideLayout" Target="../slideLayouts/slideLayout236.xml"/><Relationship Id="rId24" Type="http://schemas.openxmlformats.org/officeDocument/2006/relationships/slideLayout" Target="../slideLayouts/slideLayout249.xml"/><Relationship Id="rId32" Type="http://schemas.openxmlformats.org/officeDocument/2006/relationships/slideLayout" Target="../slideLayouts/slideLayout257.xml"/><Relationship Id="rId37" Type="http://schemas.openxmlformats.org/officeDocument/2006/relationships/slideLayout" Target="../slideLayouts/slideLayout262.xml"/><Relationship Id="rId40" Type="http://schemas.openxmlformats.org/officeDocument/2006/relationships/slideLayout" Target="../slideLayouts/slideLayout265.xml"/><Relationship Id="rId45" Type="http://schemas.openxmlformats.org/officeDocument/2006/relationships/slideLayout" Target="../slideLayouts/slideLayout270.xml"/><Relationship Id="rId53" Type="http://schemas.openxmlformats.org/officeDocument/2006/relationships/theme" Target="../theme/theme6.xml"/><Relationship Id="rId5" Type="http://schemas.openxmlformats.org/officeDocument/2006/relationships/slideLayout" Target="../slideLayouts/slideLayout230.xml"/><Relationship Id="rId15" Type="http://schemas.openxmlformats.org/officeDocument/2006/relationships/slideLayout" Target="../slideLayouts/slideLayout240.xml"/><Relationship Id="rId23" Type="http://schemas.openxmlformats.org/officeDocument/2006/relationships/slideLayout" Target="../slideLayouts/slideLayout248.xml"/><Relationship Id="rId28" Type="http://schemas.openxmlformats.org/officeDocument/2006/relationships/slideLayout" Target="../slideLayouts/slideLayout253.xml"/><Relationship Id="rId36" Type="http://schemas.openxmlformats.org/officeDocument/2006/relationships/slideLayout" Target="../slideLayouts/slideLayout261.xml"/><Relationship Id="rId49" Type="http://schemas.openxmlformats.org/officeDocument/2006/relationships/slideLayout" Target="../slideLayouts/slideLayout274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235.xml"/><Relationship Id="rId19" Type="http://schemas.openxmlformats.org/officeDocument/2006/relationships/slideLayout" Target="../slideLayouts/slideLayout244.xml"/><Relationship Id="rId31" Type="http://schemas.openxmlformats.org/officeDocument/2006/relationships/slideLayout" Target="../slideLayouts/slideLayout256.xml"/><Relationship Id="rId44" Type="http://schemas.openxmlformats.org/officeDocument/2006/relationships/slideLayout" Target="../slideLayouts/slideLayout269.xml"/><Relationship Id="rId52" Type="http://schemas.openxmlformats.org/officeDocument/2006/relationships/slideLayout" Target="../slideLayouts/slideLayout277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Relationship Id="rId14" Type="http://schemas.openxmlformats.org/officeDocument/2006/relationships/slideLayout" Target="../slideLayouts/slideLayout239.xml"/><Relationship Id="rId22" Type="http://schemas.openxmlformats.org/officeDocument/2006/relationships/slideLayout" Target="../slideLayouts/slideLayout247.xml"/><Relationship Id="rId27" Type="http://schemas.openxmlformats.org/officeDocument/2006/relationships/slideLayout" Target="../slideLayouts/slideLayout252.xml"/><Relationship Id="rId30" Type="http://schemas.openxmlformats.org/officeDocument/2006/relationships/slideLayout" Target="../slideLayouts/slideLayout255.xml"/><Relationship Id="rId35" Type="http://schemas.openxmlformats.org/officeDocument/2006/relationships/slideLayout" Target="../slideLayouts/slideLayout260.xml"/><Relationship Id="rId43" Type="http://schemas.openxmlformats.org/officeDocument/2006/relationships/slideLayout" Target="../slideLayouts/slideLayout268.xml"/><Relationship Id="rId48" Type="http://schemas.openxmlformats.org/officeDocument/2006/relationships/slideLayout" Target="../slideLayouts/slideLayout273.xml"/><Relationship Id="rId56" Type="http://schemas.openxmlformats.org/officeDocument/2006/relationships/oleObject" Target="../embeddings/oleObject5.bin"/><Relationship Id="rId8" Type="http://schemas.openxmlformats.org/officeDocument/2006/relationships/slideLayout" Target="../slideLayouts/slideLayout233.xml"/><Relationship Id="rId51" Type="http://schemas.openxmlformats.org/officeDocument/2006/relationships/slideLayout" Target="../slideLayouts/slideLayout276.xml"/><Relationship Id="rId3" Type="http://schemas.openxmlformats.org/officeDocument/2006/relationships/slideLayout" Target="../slideLayouts/slideLayout22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0.xml"/><Relationship Id="rId18" Type="http://schemas.openxmlformats.org/officeDocument/2006/relationships/slideLayout" Target="../slideLayouts/slideLayout295.xml"/><Relationship Id="rId26" Type="http://schemas.openxmlformats.org/officeDocument/2006/relationships/slideLayout" Target="../slideLayouts/slideLayout303.xml"/><Relationship Id="rId39" Type="http://schemas.openxmlformats.org/officeDocument/2006/relationships/slideLayout" Target="../slideLayouts/slideLayout316.xml"/><Relationship Id="rId21" Type="http://schemas.openxmlformats.org/officeDocument/2006/relationships/slideLayout" Target="../slideLayouts/slideLayout298.xml"/><Relationship Id="rId34" Type="http://schemas.openxmlformats.org/officeDocument/2006/relationships/slideLayout" Target="../slideLayouts/slideLayout311.xml"/><Relationship Id="rId42" Type="http://schemas.openxmlformats.org/officeDocument/2006/relationships/slideLayout" Target="../slideLayouts/slideLayout319.xml"/><Relationship Id="rId47" Type="http://schemas.openxmlformats.org/officeDocument/2006/relationships/slideLayout" Target="../slideLayouts/slideLayout324.xml"/><Relationship Id="rId50" Type="http://schemas.openxmlformats.org/officeDocument/2006/relationships/slideLayout" Target="../slideLayouts/slideLayout327.xml"/><Relationship Id="rId55" Type="http://schemas.openxmlformats.org/officeDocument/2006/relationships/theme" Target="../theme/theme7.xml"/><Relationship Id="rId7" Type="http://schemas.openxmlformats.org/officeDocument/2006/relationships/slideLayout" Target="../slideLayouts/slideLayout284.xml"/><Relationship Id="rId12" Type="http://schemas.openxmlformats.org/officeDocument/2006/relationships/slideLayout" Target="../slideLayouts/slideLayout289.xml"/><Relationship Id="rId17" Type="http://schemas.openxmlformats.org/officeDocument/2006/relationships/slideLayout" Target="../slideLayouts/slideLayout294.xml"/><Relationship Id="rId25" Type="http://schemas.openxmlformats.org/officeDocument/2006/relationships/slideLayout" Target="../slideLayouts/slideLayout302.xml"/><Relationship Id="rId33" Type="http://schemas.openxmlformats.org/officeDocument/2006/relationships/slideLayout" Target="../slideLayouts/slideLayout310.xml"/><Relationship Id="rId38" Type="http://schemas.openxmlformats.org/officeDocument/2006/relationships/slideLayout" Target="../slideLayouts/slideLayout315.xml"/><Relationship Id="rId46" Type="http://schemas.openxmlformats.org/officeDocument/2006/relationships/slideLayout" Target="../slideLayouts/slideLayout323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79.xml"/><Relationship Id="rId16" Type="http://schemas.openxmlformats.org/officeDocument/2006/relationships/slideLayout" Target="../slideLayouts/slideLayout293.xml"/><Relationship Id="rId20" Type="http://schemas.openxmlformats.org/officeDocument/2006/relationships/slideLayout" Target="../slideLayouts/slideLayout297.xml"/><Relationship Id="rId29" Type="http://schemas.openxmlformats.org/officeDocument/2006/relationships/slideLayout" Target="../slideLayouts/slideLayout306.xml"/><Relationship Id="rId41" Type="http://schemas.openxmlformats.org/officeDocument/2006/relationships/slideLayout" Target="../slideLayouts/slideLayout318.xml"/><Relationship Id="rId54" Type="http://schemas.openxmlformats.org/officeDocument/2006/relationships/slideLayout" Target="../slideLayouts/slideLayout331.xml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24" Type="http://schemas.openxmlformats.org/officeDocument/2006/relationships/slideLayout" Target="../slideLayouts/slideLayout301.xml"/><Relationship Id="rId32" Type="http://schemas.openxmlformats.org/officeDocument/2006/relationships/slideLayout" Target="../slideLayouts/slideLayout309.xml"/><Relationship Id="rId37" Type="http://schemas.openxmlformats.org/officeDocument/2006/relationships/slideLayout" Target="../slideLayouts/slideLayout314.xml"/><Relationship Id="rId40" Type="http://schemas.openxmlformats.org/officeDocument/2006/relationships/slideLayout" Target="../slideLayouts/slideLayout317.xml"/><Relationship Id="rId45" Type="http://schemas.openxmlformats.org/officeDocument/2006/relationships/slideLayout" Target="../slideLayouts/slideLayout322.xml"/><Relationship Id="rId53" Type="http://schemas.openxmlformats.org/officeDocument/2006/relationships/slideLayout" Target="../slideLayouts/slideLayout330.xml"/><Relationship Id="rId58" Type="http://schemas.openxmlformats.org/officeDocument/2006/relationships/oleObject" Target="../embeddings/oleObject5.bin"/><Relationship Id="rId5" Type="http://schemas.openxmlformats.org/officeDocument/2006/relationships/slideLayout" Target="../slideLayouts/slideLayout282.xml"/><Relationship Id="rId15" Type="http://schemas.openxmlformats.org/officeDocument/2006/relationships/slideLayout" Target="../slideLayouts/slideLayout292.xml"/><Relationship Id="rId23" Type="http://schemas.openxmlformats.org/officeDocument/2006/relationships/slideLayout" Target="../slideLayouts/slideLayout300.xml"/><Relationship Id="rId28" Type="http://schemas.openxmlformats.org/officeDocument/2006/relationships/slideLayout" Target="../slideLayouts/slideLayout305.xml"/><Relationship Id="rId36" Type="http://schemas.openxmlformats.org/officeDocument/2006/relationships/slideLayout" Target="../slideLayouts/slideLayout313.xml"/><Relationship Id="rId49" Type="http://schemas.openxmlformats.org/officeDocument/2006/relationships/slideLayout" Target="../slideLayouts/slideLayout326.xml"/><Relationship Id="rId57" Type="http://schemas.openxmlformats.org/officeDocument/2006/relationships/tags" Target="../tags/tag19.xml"/><Relationship Id="rId10" Type="http://schemas.openxmlformats.org/officeDocument/2006/relationships/slideLayout" Target="../slideLayouts/slideLayout287.xml"/><Relationship Id="rId19" Type="http://schemas.openxmlformats.org/officeDocument/2006/relationships/slideLayout" Target="../slideLayouts/slideLayout296.xml"/><Relationship Id="rId31" Type="http://schemas.openxmlformats.org/officeDocument/2006/relationships/slideLayout" Target="../slideLayouts/slideLayout308.xml"/><Relationship Id="rId44" Type="http://schemas.openxmlformats.org/officeDocument/2006/relationships/slideLayout" Target="../slideLayouts/slideLayout321.xml"/><Relationship Id="rId52" Type="http://schemas.openxmlformats.org/officeDocument/2006/relationships/slideLayout" Target="../slideLayouts/slideLayout329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Relationship Id="rId14" Type="http://schemas.openxmlformats.org/officeDocument/2006/relationships/slideLayout" Target="../slideLayouts/slideLayout291.xml"/><Relationship Id="rId22" Type="http://schemas.openxmlformats.org/officeDocument/2006/relationships/slideLayout" Target="../slideLayouts/slideLayout299.xml"/><Relationship Id="rId27" Type="http://schemas.openxmlformats.org/officeDocument/2006/relationships/slideLayout" Target="../slideLayouts/slideLayout304.xml"/><Relationship Id="rId30" Type="http://schemas.openxmlformats.org/officeDocument/2006/relationships/slideLayout" Target="../slideLayouts/slideLayout307.xml"/><Relationship Id="rId35" Type="http://schemas.openxmlformats.org/officeDocument/2006/relationships/slideLayout" Target="../slideLayouts/slideLayout312.xml"/><Relationship Id="rId43" Type="http://schemas.openxmlformats.org/officeDocument/2006/relationships/slideLayout" Target="../slideLayouts/slideLayout320.xml"/><Relationship Id="rId48" Type="http://schemas.openxmlformats.org/officeDocument/2006/relationships/slideLayout" Target="../slideLayouts/slideLayout325.xml"/><Relationship Id="rId56" Type="http://schemas.openxmlformats.org/officeDocument/2006/relationships/tags" Target="../tags/tag18.xml"/><Relationship Id="rId8" Type="http://schemas.openxmlformats.org/officeDocument/2006/relationships/slideLayout" Target="../slideLayouts/slideLayout285.xml"/><Relationship Id="rId51" Type="http://schemas.openxmlformats.org/officeDocument/2006/relationships/slideLayout" Target="../slideLayouts/slideLayout328.xml"/><Relationship Id="rId3" Type="http://schemas.openxmlformats.org/officeDocument/2006/relationships/slideLayout" Target="../slideLayouts/slideLayout280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4.xml"/><Relationship Id="rId18" Type="http://schemas.openxmlformats.org/officeDocument/2006/relationships/slideLayout" Target="../slideLayouts/slideLayout349.xml"/><Relationship Id="rId26" Type="http://schemas.openxmlformats.org/officeDocument/2006/relationships/slideLayout" Target="../slideLayouts/slideLayout357.xml"/><Relationship Id="rId39" Type="http://schemas.openxmlformats.org/officeDocument/2006/relationships/slideLayout" Target="../slideLayouts/slideLayout370.xml"/><Relationship Id="rId21" Type="http://schemas.openxmlformats.org/officeDocument/2006/relationships/slideLayout" Target="../slideLayouts/slideLayout352.xml"/><Relationship Id="rId34" Type="http://schemas.openxmlformats.org/officeDocument/2006/relationships/slideLayout" Target="../slideLayouts/slideLayout365.xml"/><Relationship Id="rId42" Type="http://schemas.openxmlformats.org/officeDocument/2006/relationships/slideLayout" Target="../slideLayouts/slideLayout373.xml"/><Relationship Id="rId47" Type="http://schemas.openxmlformats.org/officeDocument/2006/relationships/slideLayout" Target="../slideLayouts/slideLayout378.xml"/><Relationship Id="rId50" Type="http://schemas.openxmlformats.org/officeDocument/2006/relationships/slideLayout" Target="../slideLayouts/slideLayout381.xml"/><Relationship Id="rId55" Type="http://schemas.openxmlformats.org/officeDocument/2006/relationships/tags" Target="../tags/tag23.xml"/><Relationship Id="rId7" Type="http://schemas.openxmlformats.org/officeDocument/2006/relationships/slideLayout" Target="../slideLayouts/slideLayout338.xml"/><Relationship Id="rId12" Type="http://schemas.openxmlformats.org/officeDocument/2006/relationships/slideLayout" Target="../slideLayouts/slideLayout343.xml"/><Relationship Id="rId17" Type="http://schemas.openxmlformats.org/officeDocument/2006/relationships/slideLayout" Target="../slideLayouts/slideLayout348.xml"/><Relationship Id="rId25" Type="http://schemas.openxmlformats.org/officeDocument/2006/relationships/slideLayout" Target="../slideLayouts/slideLayout356.xml"/><Relationship Id="rId33" Type="http://schemas.openxmlformats.org/officeDocument/2006/relationships/slideLayout" Target="../slideLayouts/slideLayout364.xml"/><Relationship Id="rId38" Type="http://schemas.openxmlformats.org/officeDocument/2006/relationships/slideLayout" Target="../slideLayouts/slideLayout369.xml"/><Relationship Id="rId46" Type="http://schemas.openxmlformats.org/officeDocument/2006/relationships/slideLayout" Target="../slideLayouts/slideLayout377.xml"/><Relationship Id="rId2" Type="http://schemas.openxmlformats.org/officeDocument/2006/relationships/slideLayout" Target="../slideLayouts/slideLayout333.xml"/><Relationship Id="rId16" Type="http://schemas.openxmlformats.org/officeDocument/2006/relationships/slideLayout" Target="../slideLayouts/slideLayout347.xml"/><Relationship Id="rId20" Type="http://schemas.openxmlformats.org/officeDocument/2006/relationships/slideLayout" Target="../slideLayouts/slideLayout351.xml"/><Relationship Id="rId29" Type="http://schemas.openxmlformats.org/officeDocument/2006/relationships/slideLayout" Target="../slideLayouts/slideLayout360.xml"/><Relationship Id="rId41" Type="http://schemas.openxmlformats.org/officeDocument/2006/relationships/slideLayout" Target="../slideLayouts/slideLayout372.xml"/><Relationship Id="rId54" Type="http://schemas.openxmlformats.org/officeDocument/2006/relationships/tags" Target="../tags/tag22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11" Type="http://schemas.openxmlformats.org/officeDocument/2006/relationships/slideLayout" Target="../slideLayouts/slideLayout342.xml"/><Relationship Id="rId24" Type="http://schemas.openxmlformats.org/officeDocument/2006/relationships/slideLayout" Target="../slideLayouts/slideLayout355.xml"/><Relationship Id="rId32" Type="http://schemas.openxmlformats.org/officeDocument/2006/relationships/slideLayout" Target="../slideLayouts/slideLayout363.xml"/><Relationship Id="rId37" Type="http://schemas.openxmlformats.org/officeDocument/2006/relationships/slideLayout" Target="../slideLayouts/slideLayout368.xml"/><Relationship Id="rId40" Type="http://schemas.openxmlformats.org/officeDocument/2006/relationships/slideLayout" Target="../slideLayouts/slideLayout371.xml"/><Relationship Id="rId45" Type="http://schemas.openxmlformats.org/officeDocument/2006/relationships/slideLayout" Target="../slideLayouts/slideLayout376.xml"/><Relationship Id="rId53" Type="http://schemas.openxmlformats.org/officeDocument/2006/relationships/theme" Target="../theme/theme8.xml"/><Relationship Id="rId5" Type="http://schemas.openxmlformats.org/officeDocument/2006/relationships/slideLayout" Target="../slideLayouts/slideLayout336.xml"/><Relationship Id="rId15" Type="http://schemas.openxmlformats.org/officeDocument/2006/relationships/slideLayout" Target="../slideLayouts/slideLayout346.xml"/><Relationship Id="rId23" Type="http://schemas.openxmlformats.org/officeDocument/2006/relationships/slideLayout" Target="../slideLayouts/slideLayout354.xml"/><Relationship Id="rId28" Type="http://schemas.openxmlformats.org/officeDocument/2006/relationships/slideLayout" Target="../slideLayouts/slideLayout359.xml"/><Relationship Id="rId36" Type="http://schemas.openxmlformats.org/officeDocument/2006/relationships/slideLayout" Target="../slideLayouts/slideLayout367.xml"/><Relationship Id="rId49" Type="http://schemas.openxmlformats.org/officeDocument/2006/relationships/slideLayout" Target="../slideLayouts/slideLayout380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341.xml"/><Relationship Id="rId19" Type="http://schemas.openxmlformats.org/officeDocument/2006/relationships/slideLayout" Target="../slideLayouts/slideLayout350.xml"/><Relationship Id="rId31" Type="http://schemas.openxmlformats.org/officeDocument/2006/relationships/slideLayout" Target="../slideLayouts/slideLayout362.xml"/><Relationship Id="rId44" Type="http://schemas.openxmlformats.org/officeDocument/2006/relationships/slideLayout" Target="../slideLayouts/slideLayout375.xml"/><Relationship Id="rId52" Type="http://schemas.openxmlformats.org/officeDocument/2006/relationships/slideLayout" Target="../slideLayouts/slideLayout383.xml"/><Relationship Id="rId4" Type="http://schemas.openxmlformats.org/officeDocument/2006/relationships/slideLayout" Target="../slideLayouts/slideLayout335.xml"/><Relationship Id="rId9" Type="http://schemas.openxmlformats.org/officeDocument/2006/relationships/slideLayout" Target="../slideLayouts/slideLayout340.xml"/><Relationship Id="rId14" Type="http://schemas.openxmlformats.org/officeDocument/2006/relationships/slideLayout" Target="../slideLayouts/slideLayout345.xml"/><Relationship Id="rId22" Type="http://schemas.openxmlformats.org/officeDocument/2006/relationships/slideLayout" Target="../slideLayouts/slideLayout353.xml"/><Relationship Id="rId27" Type="http://schemas.openxmlformats.org/officeDocument/2006/relationships/slideLayout" Target="../slideLayouts/slideLayout358.xml"/><Relationship Id="rId30" Type="http://schemas.openxmlformats.org/officeDocument/2006/relationships/slideLayout" Target="../slideLayouts/slideLayout361.xml"/><Relationship Id="rId35" Type="http://schemas.openxmlformats.org/officeDocument/2006/relationships/slideLayout" Target="../slideLayouts/slideLayout366.xml"/><Relationship Id="rId43" Type="http://schemas.openxmlformats.org/officeDocument/2006/relationships/slideLayout" Target="../slideLayouts/slideLayout374.xml"/><Relationship Id="rId48" Type="http://schemas.openxmlformats.org/officeDocument/2006/relationships/slideLayout" Target="../slideLayouts/slideLayout379.xml"/><Relationship Id="rId56" Type="http://schemas.openxmlformats.org/officeDocument/2006/relationships/oleObject" Target="../embeddings/oleObject5.bin"/><Relationship Id="rId8" Type="http://schemas.openxmlformats.org/officeDocument/2006/relationships/slideLayout" Target="../slideLayouts/slideLayout339.xml"/><Relationship Id="rId51" Type="http://schemas.openxmlformats.org/officeDocument/2006/relationships/slideLayout" Target="../slideLayouts/slideLayout382.xml"/><Relationship Id="rId3" Type="http://schemas.openxmlformats.org/officeDocument/2006/relationships/slideLayout" Target="../slideLayouts/slideLayout334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6.xml"/><Relationship Id="rId18" Type="http://schemas.openxmlformats.org/officeDocument/2006/relationships/slideLayout" Target="../slideLayouts/slideLayout401.xml"/><Relationship Id="rId26" Type="http://schemas.openxmlformats.org/officeDocument/2006/relationships/slideLayout" Target="../slideLayouts/slideLayout409.xml"/><Relationship Id="rId39" Type="http://schemas.openxmlformats.org/officeDocument/2006/relationships/slideLayout" Target="../slideLayouts/slideLayout422.xml"/><Relationship Id="rId21" Type="http://schemas.openxmlformats.org/officeDocument/2006/relationships/slideLayout" Target="../slideLayouts/slideLayout404.xml"/><Relationship Id="rId34" Type="http://schemas.openxmlformats.org/officeDocument/2006/relationships/slideLayout" Target="../slideLayouts/slideLayout417.xml"/><Relationship Id="rId42" Type="http://schemas.openxmlformats.org/officeDocument/2006/relationships/slideLayout" Target="../slideLayouts/slideLayout425.xml"/><Relationship Id="rId47" Type="http://schemas.openxmlformats.org/officeDocument/2006/relationships/slideLayout" Target="../slideLayouts/slideLayout430.xml"/><Relationship Id="rId50" Type="http://schemas.openxmlformats.org/officeDocument/2006/relationships/slideLayout" Target="../slideLayouts/slideLayout433.xml"/><Relationship Id="rId55" Type="http://schemas.openxmlformats.org/officeDocument/2006/relationships/tags" Target="../tags/tag25.xml"/><Relationship Id="rId7" Type="http://schemas.openxmlformats.org/officeDocument/2006/relationships/slideLayout" Target="../slideLayouts/slideLayout390.xml"/><Relationship Id="rId12" Type="http://schemas.openxmlformats.org/officeDocument/2006/relationships/slideLayout" Target="../slideLayouts/slideLayout395.xml"/><Relationship Id="rId17" Type="http://schemas.openxmlformats.org/officeDocument/2006/relationships/slideLayout" Target="../slideLayouts/slideLayout400.xml"/><Relationship Id="rId25" Type="http://schemas.openxmlformats.org/officeDocument/2006/relationships/slideLayout" Target="../slideLayouts/slideLayout408.xml"/><Relationship Id="rId33" Type="http://schemas.openxmlformats.org/officeDocument/2006/relationships/slideLayout" Target="../slideLayouts/slideLayout416.xml"/><Relationship Id="rId38" Type="http://schemas.openxmlformats.org/officeDocument/2006/relationships/slideLayout" Target="../slideLayouts/slideLayout421.xml"/><Relationship Id="rId46" Type="http://schemas.openxmlformats.org/officeDocument/2006/relationships/slideLayout" Target="../slideLayouts/slideLayout429.xml"/><Relationship Id="rId2" Type="http://schemas.openxmlformats.org/officeDocument/2006/relationships/slideLayout" Target="../slideLayouts/slideLayout385.xml"/><Relationship Id="rId16" Type="http://schemas.openxmlformats.org/officeDocument/2006/relationships/slideLayout" Target="../slideLayouts/slideLayout399.xml"/><Relationship Id="rId20" Type="http://schemas.openxmlformats.org/officeDocument/2006/relationships/slideLayout" Target="../slideLayouts/slideLayout403.xml"/><Relationship Id="rId29" Type="http://schemas.openxmlformats.org/officeDocument/2006/relationships/slideLayout" Target="../slideLayouts/slideLayout412.xml"/><Relationship Id="rId41" Type="http://schemas.openxmlformats.org/officeDocument/2006/relationships/slideLayout" Target="../slideLayouts/slideLayout424.xml"/><Relationship Id="rId54" Type="http://schemas.openxmlformats.org/officeDocument/2006/relationships/tags" Target="../tags/tag24.xml"/><Relationship Id="rId1" Type="http://schemas.openxmlformats.org/officeDocument/2006/relationships/slideLayout" Target="../slideLayouts/slideLayout384.xml"/><Relationship Id="rId6" Type="http://schemas.openxmlformats.org/officeDocument/2006/relationships/slideLayout" Target="../slideLayouts/slideLayout389.xml"/><Relationship Id="rId11" Type="http://schemas.openxmlformats.org/officeDocument/2006/relationships/slideLayout" Target="../slideLayouts/slideLayout394.xml"/><Relationship Id="rId24" Type="http://schemas.openxmlformats.org/officeDocument/2006/relationships/slideLayout" Target="../slideLayouts/slideLayout407.xml"/><Relationship Id="rId32" Type="http://schemas.openxmlformats.org/officeDocument/2006/relationships/slideLayout" Target="../slideLayouts/slideLayout415.xml"/><Relationship Id="rId37" Type="http://schemas.openxmlformats.org/officeDocument/2006/relationships/slideLayout" Target="../slideLayouts/slideLayout420.xml"/><Relationship Id="rId40" Type="http://schemas.openxmlformats.org/officeDocument/2006/relationships/slideLayout" Target="../slideLayouts/slideLayout423.xml"/><Relationship Id="rId45" Type="http://schemas.openxmlformats.org/officeDocument/2006/relationships/slideLayout" Target="../slideLayouts/slideLayout428.xml"/><Relationship Id="rId53" Type="http://schemas.openxmlformats.org/officeDocument/2006/relationships/theme" Target="../theme/theme9.xml"/><Relationship Id="rId5" Type="http://schemas.openxmlformats.org/officeDocument/2006/relationships/slideLayout" Target="../slideLayouts/slideLayout388.xml"/><Relationship Id="rId15" Type="http://schemas.openxmlformats.org/officeDocument/2006/relationships/slideLayout" Target="../slideLayouts/slideLayout398.xml"/><Relationship Id="rId23" Type="http://schemas.openxmlformats.org/officeDocument/2006/relationships/slideLayout" Target="../slideLayouts/slideLayout406.xml"/><Relationship Id="rId28" Type="http://schemas.openxmlformats.org/officeDocument/2006/relationships/slideLayout" Target="../slideLayouts/slideLayout411.xml"/><Relationship Id="rId36" Type="http://schemas.openxmlformats.org/officeDocument/2006/relationships/slideLayout" Target="../slideLayouts/slideLayout419.xml"/><Relationship Id="rId49" Type="http://schemas.openxmlformats.org/officeDocument/2006/relationships/slideLayout" Target="../slideLayouts/slideLayout432.xml"/><Relationship Id="rId57" Type="http://schemas.openxmlformats.org/officeDocument/2006/relationships/image" Target="../media/image1.emf"/><Relationship Id="rId10" Type="http://schemas.openxmlformats.org/officeDocument/2006/relationships/slideLayout" Target="../slideLayouts/slideLayout393.xml"/><Relationship Id="rId19" Type="http://schemas.openxmlformats.org/officeDocument/2006/relationships/slideLayout" Target="../slideLayouts/slideLayout402.xml"/><Relationship Id="rId31" Type="http://schemas.openxmlformats.org/officeDocument/2006/relationships/slideLayout" Target="../slideLayouts/slideLayout414.xml"/><Relationship Id="rId44" Type="http://schemas.openxmlformats.org/officeDocument/2006/relationships/slideLayout" Target="../slideLayouts/slideLayout427.xml"/><Relationship Id="rId52" Type="http://schemas.openxmlformats.org/officeDocument/2006/relationships/slideLayout" Target="../slideLayouts/slideLayout435.xml"/><Relationship Id="rId4" Type="http://schemas.openxmlformats.org/officeDocument/2006/relationships/slideLayout" Target="../slideLayouts/slideLayout387.xml"/><Relationship Id="rId9" Type="http://schemas.openxmlformats.org/officeDocument/2006/relationships/slideLayout" Target="../slideLayouts/slideLayout392.xml"/><Relationship Id="rId14" Type="http://schemas.openxmlformats.org/officeDocument/2006/relationships/slideLayout" Target="../slideLayouts/slideLayout397.xml"/><Relationship Id="rId22" Type="http://schemas.openxmlformats.org/officeDocument/2006/relationships/slideLayout" Target="../slideLayouts/slideLayout405.xml"/><Relationship Id="rId27" Type="http://schemas.openxmlformats.org/officeDocument/2006/relationships/slideLayout" Target="../slideLayouts/slideLayout410.xml"/><Relationship Id="rId30" Type="http://schemas.openxmlformats.org/officeDocument/2006/relationships/slideLayout" Target="../slideLayouts/slideLayout413.xml"/><Relationship Id="rId35" Type="http://schemas.openxmlformats.org/officeDocument/2006/relationships/slideLayout" Target="../slideLayouts/slideLayout418.xml"/><Relationship Id="rId43" Type="http://schemas.openxmlformats.org/officeDocument/2006/relationships/slideLayout" Target="../slideLayouts/slideLayout426.xml"/><Relationship Id="rId48" Type="http://schemas.openxmlformats.org/officeDocument/2006/relationships/slideLayout" Target="../slideLayouts/slideLayout431.xml"/><Relationship Id="rId56" Type="http://schemas.openxmlformats.org/officeDocument/2006/relationships/oleObject" Target="../embeddings/oleObject5.bin"/><Relationship Id="rId8" Type="http://schemas.openxmlformats.org/officeDocument/2006/relationships/slideLayout" Target="../slideLayouts/slideLayout391.xml"/><Relationship Id="rId51" Type="http://schemas.openxmlformats.org/officeDocument/2006/relationships/slideLayout" Target="../slideLayouts/slideLayout434.xml"/><Relationship Id="rId3" Type="http://schemas.openxmlformats.org/officeDocument/2006/relationships/slideLayout" Target="../slideLayouts/slideLayout3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3088177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7" imgW="306" imgH="306" progId="TCLayout.ActiveDocument.1">
                  <p:embed/>
                </p:oleObj>
              </mc:Choice>
              <mc:Fallback>
                <p:oleObj name="think-cell Folie" r:id="rId57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58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48" r:id="rId19"/>
    <p:sldLayoutId id="2147483749" r:id="rId20"/>
    <p:sldLayoutId id="2147483750" r:id="rId21"/>
    <p:sldLayoutId id="2147483745" r:id="rId22"/>
    <p:sldLayoutId id="2147483746" r:id="rId23"/>
    <p:sldLayoutId id="2147483747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4" r:id="rId31"/>
    <p:sldLayoutId id="2147483708" r:id="rId32"/>
    <p:sldLayoutId id="2147483655" r:id="rId33"/>
    <p:sldLayoutId id="2147483742" r:id="rId34"/>
    <p:sldLayoutId id="2147483677" r:id="rId35"/>
    <p:sldLayoutId id="2147483709" r:id="rId36"/>
    <p:sldLayoutId id="2147483691" r:id="rId37"/>
    <p:sldLayoutId id="2147483692" r:id="rId38"/>
    <p:sldLayoutId id="2147483650" r:id="rId39"/>
    <p:sldLayoutId id="2147483665" r:id="rId40"/>
    <p:sldLayoutId id="2147483666" r:id="rId41"/>
    <p:sldLayoutId id="2147483697" r:id="rId42"/>
    <p:sldLayoutId id="2147483698" r:id="rId43"/>
    <p:sldLayoutId id="2147483652" r:id="rId44"/>
    <p:sldLayoutId id="2147483680" r:id="rId45"/>
    <p:sldLayoutId id="2147483694" r:id="rId46"/>
    <p:sldLayoutId id="2147483687" r:id="rId47"/>
    <p:sldLayoutId id="2147483681" r:id="rId48"/>
    <p:sldLayoutId id="2147483690" r:id="rId49"/>
    <p:sldLayoutId id="2147483711" r:id="rId50"/>
    <p:sldLayoutId id="2147483682" r:id="rId51"/>
    <p:sldLayoutId id="2147483678" r:id="rId52"/>
    <p:sldLayoutId id="2147484420" r:id="rId5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195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6" imgW="306" imgH="306" progId="TCLayout.ActiveDocument.1">
                  <p:embed/>
                </p:oleObj>
              </mc:Choice>
              <mc:Fallback>
                <p:oleObj name="think-cell Folie" r:id="rId5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157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0" r:id="rId1"/>
    <p:sldLayoutId id="2147484141" r:id="rId2"/>
    <p:sldLayoutId id="2147484142" r:id="rId3"/>
    <p:sldLayoutId id="2147484143" r:id="rId4"/>
    <p:sldLayoutId id="2147484144" r:id="rId5"/>
    <p:sldLayoutId id="2147484145" r:id="rId6"/>
    <p:sldLayoutId id="2147484146" r:id="rId7"/>
    <p:sldLayoutId id="2147484147" r:id="rId8"/>
    <p:sldLayoutId id="2147484148" r:id="rId9"/>
    <p:sldLayoutId id="2147484149" r:id="rId10"/>
    <p:sldLayoutId id="2147484150" r:id="rId11"/>
    <p:sldLayoutId id="2147484151" r:id="rId12"/>
    <p:sldLayoutId id="2147484152" r:id="rId13"/>
    <p:sldLayoutId id="2147484153" r:id="rId14"/>
    <p:sldLayoutId id="2147484154" r:id="rId15"/>
    <p:sldLayoutId id="2147484155" r:id="rId16"/>
    <p:sldLayoutId id="2147484156" r:id="rId17"/>
    <p:sldLayoutId id="2147484157" r:id="rId18"/>
    <p:sldLayoutId id="2147484158" r:id="rId19"/>
    <p:sldLayoutId id="2147484159" r:id="rId20"/>
    <p:sldLayoutId id="2147484160" r:id="rId21"/>
    <p:sldLayoutId id="2147484161" r:id="rId22"/>
    <p:sldLayoutId id="2147484162" r:id="rId23"/>
    <p:sldLayoutId id="2147484163" r:id="rId24"/>
    <p:sldLayoutId id="2147484164" r:id="rId25"/>
    <p:sldLayoutId id="2147484165" r:id="rId26"/>
    <p:sldLayoutId id="2147484166" r:id="rId27"/>
    <p:sldLayoutId id="2147484167" r:id="rId28"/>
    <p:sldLayoutId id="2147484168" r:id="rId29"/>
    <p:sldLayoutId id="2147484169" r:id="rId30"/>
    <p:sldLayoutId id="2147484170" r:id="rId31"/>
    <p:sldLayoutId id="2147484171" r:id="rId32"/>
    <p:sldLayoutId id="2147484172" r:id="rId33"/>
    <p:sldLayoutId id="2147484173" r:id="rId34"/>
    <p:sldLayoutId id="2147484174" r:id="rId35"/>
    <p:sldLayoutId id="2147484175" r:id="rId36"/>
    <p:sldLayoutId id="2147484176" r:id="rId37"/>
    <p:sldLayoutId id="2147484177" r:id="rId38"/>
    <p:sldLayoutId id="2147484178" r:id="rId39"/>
    <p:sldLayoutId id="2147484179" r:id="rId40"/>
    <p:sldLayoutId id="2147484180" r:id="rId41"/>
    <p:sldLayoutId id="2147484181" r:id="rId42"/>
    <p:sldLayoutId id="2147484182" r:id="rId43"/>
    <p:sldLayoutId id="2147484183" r:id="rId44"/>
    <p:sldLayoutId id="2147484184" r:id="rId45"/>
    <p:sldLayoutId id="2147484185" r:id="rId46"/>
    <p:sldLayoutId id="2147484186" r:id="rId47"/>
    <p:sldLayoutId id="2147484187" r:id="rId48"/>
    <p:sldLayoutId id="2147484188" r:id="rId49"/>
    <p:sldLayoutId id="2147484189" r:id="rId50"/>
    <p:sldLayoutId id="2147484190" r:id="rId51"/>
    <p:sldLayoutId id="2147484191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2807556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6" imgW="306" imgH="306" progId="TCLayout.ActiveDocument.1">
                  <p:embed/>
                </p:oleObj>
              </mc:Choice>
              <mc:Fallback>
                <p:oleObj name="think-cell Folie" r:id="rId5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132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3" r:id="rId1"/>
    <p:sldLayoutId id="2147484194" r:id="rId2"/>
    <p:sldLayoutId id="2147484195" r:id="rId3"/>
    <p:sldLayoutId id="2147484196" r:id="rId4"/>
    <p:sldLayoutId id="2147484197" r:id="rId5"/>
    <p:sldLayoutId id="2147484198" r:id="rId6"/>
    <p:sldLayoutId id="2147484199" r:id="rId7"/>
    <p:sldLayoutId id="2147484200" r:id="rId8"/>
    <p:sldLayoutId id="2147484201" r:id="rId9"/>
    <p:sldLayoutId id="2147484202" r:id="rId10"/>
    <p:sldLayoutId id="2147484203" r:id="rId11"/>
    <p:sldLayoutId id="2147484204" r:id="rId12"/>
    <p:sldLayoutId id="2147484205" r:id="rId13"/>
    <p:sldLayoutId id="2147484206" r:id="rId14"/>
    <p:sldLayoutId id="2147484207" r:id="rId15"/>
    <p:sldLayoutId id="2147484208" r:id="rId16"/>
    <p:sldLayoutId id="2147484209" r:id="rId17"/>
    <p:sldLayoutId id="2147484210" r:id="rId18"/>
    <p:sldLayoutId id="2147484211" r:id="rId19"/>
    <p:sldLayoutId id="2147484212" r:id="rId20"/>
    <p:sldLayoutId id="2147484213" r:id="rId21"/>
    <p:sldLayoutId id="2147484214" r:id="rId22"/>
    <p:sldLayoutId id="2147484215" r:id="rId23"/>
    <p:sldLayoutId id="2147484216" r:id="rId24"/>
    <p:sldLayoutId id="2147484217" r:id="rId25"/>
    <p:sldLayoutId id="2147484218" r:id="rId26"/>
    <p:sldLayoutId id="2147484219" r:id="rId27"/>
    <p:sldLayoutId id="2147484220" r:id="rId28"/>
    <p:sldLayoutId id="2147484221" r:id="rId29"/>
    <p:sldLayoutId id="2147484222" r:id="rId30"/>
    <p:sldLayoutId id="2147484223" r:id="rId31"/>
    <p:sldLayoutId id="2147484224" r:id="rId32"/>
    <p:sldLayoutId id="2147484225" r:id="rId33"/>
    <p:sldLayoutId id="2147484226" r:id="rId34"/>
    <p:sldLayoutId id="2147484227" r:id="rId35"/>
    <p:sldLayoutId id="2147484228" r:id="rId36"/>
    <p:sldLayoutId id="2147484229" r:id="rId37"/>
    <p:sldLayoutId id="2147484230" r:id="rId38"/>
    <p:sldLayoutId id="2147484231" r:id="rId39"/>
    <p:sldLayoutId id="2147484232" r:id="rId40"/>
    <p:sldLayoutId id="2147484233" r:id="rId41"/>
    <p:sldLayoutId id="2147484234" r:id="rId42"/>
    <p:sldLayoutId id="2147484235" r:id="rId43"/>
    <p:sldLayoutId id="2147484236" r:id="rId44"/>
    <p:sldLayoutId id="2147484237" r:id="rId45"/>
    <p:sldLayoutId id="2147484238" r:id="rId46"/>
    <p:sldLayoutId id="2147484239" r:id="rId47"/>
    <p:sldLayoutId id="2147484240" r:id="rId48"/>
    <p:sldLayoutId id="2147484241" r:id="rId49"/>
    <p:sldLayoutId id="2147484242" r:id="rId50"/>
    <p:sldLayoutId id="2147484243" r:id="rId51"/>
    <p:sldLayoutId id="2147484244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2155989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6" imgW="306" imgH="306" progId="TCLayout.ActiveDocument.1">
                  <p:embed/>
                </p:oleObj>
              </mc:Choice>
              <mc:Fallback>
                <p:oleObj name="think-cell Folie" r:id="rId5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307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  <p:sldLayoutId id="2147484256" r:id="rId11"/>
    <p:sldLayoutId id="2147484257" r:id="rId12"/>
    <p:sldLayoutId id="2147484258" r:id="rId13"/>
    <p:sldLayoutId id="2147484259" r:id="rId14"/>
    <p:sldLayoutId id="2147484260" r:id="rId15"/>
    <p:sldLayoutId id="2147484261" r:id="rId16"/>
    <p:sldLayoutId id="2147484262" r:id="rId17"/>
    <p:sldLayoutId id="2147484263" r:id="rId18"/>
    <p:sldLayoutId id="2147484264" r:id="rId19"/>
    <p:sldLayoutId id="2147484265" r:id="rId20"/>
    <p:sldLayoutId id="2147484266" r:id="rId21"/>
    <p:sldLayoutId id="2147484267" r:id="rId22"/>
    <p:sldLayoutId id="2147484268" r:id="rId23"/>
    <p:sldLayoutId id="2147484269" r:id="rId24"/>
    <p:sldLayoutId id="2147484270" r:id="rId25"/>
    <p:sldLayoutId id="2147484271" r:id="rId26"/>
    <p:sldLayoutId id="2147484272" r:id="rId27"/>
    <p:sldLayoutId id="2147484273" r:id="rId28"/>
    <p:sldLayoutId id="2147484274" r:id="rId29"/>
    <p:sldLayoutId id="2147484275" r:id="rId30"/>
    <p:sldLayoutId id="2147484276" r:id="rId31"/>
    <p:sldLayoutId id="2147484277" r:id="rId32"/>
    <p:sldLayoutId id="2147484278" r:id="rId33"/>
    <p:sldLayoutId id="2147484279" r:id="rId34"/>
    <p:sldLayoutId id="2147484280" r:id="rId35"/>
    <p:sldLayoutId id="2147484281" r:id="rId36"/>
    <p:sldLayoutId id="2147484282" r:id="rId37"/>
    <p:sldLayoutId id="2147484283" r:id="rId38"/>
    <p:sldLayoutId id="2147484284" r:id="rId39"/>
    <p:sldLayoutId id="2147484285" r:id="rId40"/>
    <p:sldLayoutId id="2147484286" r:id="rId41"/>
    <p:sldLayoutId id="2147484287" r:id="rId42"/>
    <p:sldLayoutId id="2147484288" r:id="rId43"/>
    <p:sldLayoutId id="2147484289" r:id="rId44"/>
    <p:sldLayoutId id="2147484290" r:id="rId45"/>
    <p:sldLayoutId id="2147484291" r:id="rId46"/>
    <p:sldLayoutId id="2147484292" r:id="rId47"/>
    <p:sldLayoutId id="2147484293" r:id="rId48"/>
    <p:sldLayoutId id="2147484294" r:id="rId49"/>
    <p:sldLayoutId id="2147484295" r:id="rId50"/>
    <p:sldLayoutId id="2147484296" r:id="rId51"/>
    <p:sldLayoutId id="2147484297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3923044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6" imgW="306" imgH="306" progId="TCLayout.ActiveDocument.1">
                  <p:embed/>
                </p:oleObj>
              </mc:Choice>
              <mc:Fallback>
                <p:oleObj name="think-cell Folie" r:id="rId5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818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9" r:id="rId1"/>
    <p:sldLayoutId id="2147484300" r:id="rId2"/>
    <p:sldLayoutId id="2147484301" r:id="rId3"/>
    <p:sldLayoutId id="2147484302" r:id="rId4"/>
    <p:sldLayoutId id="2147484303" r:id="rId5"/>
    <p:sldLayoutId id="2147484304" r:id="rId6"/>
    <p:sldLayoutId id="2147484305" r:id="rId7"/>
    <p:sldLayoutId id="2147484306" r:id="rId8"/>
    <p:sldLayoutId id="2147484307" r:id="rId9"/>
    <p:sldLayoutId id="2147484308" r:id="rId10"/>
    <p:sldLayoutId id="2147484309" r:id="rId11"/>
    <p:sldLayoutId id="2147484310" r:id="rId12"/>
    <p:sldLayoutId id="2147484311" r:id="rId13"/>
    <p:sldLayoutId id="2147484312" r:id="rId14"/>
    <p:sldLayoutId id="2147484313" r:id="rId15"/>
    <p:sldLayoutId id="2147484314" r:id="rId16"/>
    <p:sldLayoutId id="2147484315" r:id="rId17"/>
    <p:sldLayoutId id="2147484316" r:id="rId18"/>
    <p:sldLayoutId id="2147484317" r:id="rId19"/>
    <p:sldLayoutId id="2147484318" r:id="rId20"/>
    <p:sldLayoutId id="2147484319" r:id="rId21"/>
    <p:sldLayoutId id="2147484320" r:id="rId22"/>
    <p:sldLayoutId id="2147484321" r:id="rId23"/>
    <p:sldLayoutId id="2147484322" r:id="rId24"/>
    <p:sldLayoutId id="2147484323" r:id="rId25"/>
    <p:sldLayoutId id="2147484324" r:id="rId26"/>
    <p:sldLayoutId id="2147484325" r:id="rId27"/>
    <p:sldLayoutId id="2147484326" r:id="rId28"/>
    <p:sldLayoutId id="2147484327" r:id="rId29"/>
    <p:sldLayoutId id="2147484328" r:id="rId30"/>
    <p:sldLayoutId id="2147484329" r:id="rId31"/>
    <p:sldLayoutId id="2147484330" r:id="rId32"/>
    <p:sldLayoutId id="2147484331" r:id="rId33"/>
    <p:sldLayoutId id="2147484332" r:id="rId34"/>
    <p:sldLayoutId id="2147484333" r:id="rId35"/>
    <p:sldLayoutId id="2147484334" r:id="rId36"/>
    <p:sldLayoutId id="2147484335" r:id="rId37"/>
    <p:sldLayoutId id="2147484336" r:id="rId38"/>
    <p:sldLayoutId id="2147484337" r:id="rId39"/>
    <p:sldLayoutId id="2147484338" r:id="rId40"/>
    <p:sldLayoutId id="2147484339" r:id="rId41"/>
    <p:sldLayoutId id="2147484340" r:id="rId42"/>
    <p:sldLayoutId id="2147484341" r:id="rId43"/>
    <p:sldLayoutId id="2147484342" r:id="rId44"/>
    <p:sldLayoutId id="2147484343" r:id="rId45"/>
    <p:sldLayoutId id="2147484344" r:id="rId46"/>
    <p:sldLayoutId id="2147484345" r:id="rId47"/>
    <p:sldLayoutId id="2147484346" r:id="rId48"/>
    <p:sldLayoutId id="2147484347" r:id="rId49"/>
    <p:sldLayoutId id="2147484348" r:id="rId50"/>
    <p:sldLayoutId id="2147484349" r:id="rId51"/>
    <p:sldLayoutId id="2147484350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4"/>
            </p:custDataLst>
          </p:nvPr>
        </p:nvSpPr>
        <p:spPr bwMode="auto">
          <a:xfrm>
            <a:off x="0" y="-1"/>
            <a:ext cx="12192000" cy="14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08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5"/>
            </p:custDataLst>
          </p:nvPr>
        </p:nvSpPr>
        <p:spPr bwMode="auto">
          <a:xfrm>
            <a:off x="626736" y="1414801"/>
            <a:ext cx="8204689" cy="4750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0" y="6166801"/>
            <a:ext cx="12192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074" tIns="143925" rIns="3209528" bIns="0" anchor="ctr"/>
          <a:lstStyle/>
          <a:p>
            <a:r>
              <a:rPr lang="de-DE" sz="999" b="1" noProof="0">
                <a:solidFill>
                  <a:srgbClr val="879BAA"/>
                </a:solidFill>
              </a:rPr>
              <a:t>© Siemens 2020</a:t>
            </a:r>
          </a:p>
        </p:txBody>
      </p:sp>
      <p:sp>
        <p:nvSpPr>
          <p:cNvPr id="64" name="cdtTextBox 12 Id17"/>
          <p:cNvSpPr txBox="1"/>
          <p:nvPr>
            <p:custDataLst>
              <p:tags r:id="rId60"/>
            </p:custDataLst>
          </p:nvPr>
        </p:nvSpPr>
        <p:spPr>
          <a:xfrm>
            <a:off x="0" y="6562800"/>
            <a:ext cx="3930183" cy="29520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FFFFFF"/>
                </a:solidFill>
              </a:rPr>
              <a:t>TT.MM.JJJJ</a:t>
            </a:r>
          </a:p>
        </p:txBody>
      </p:sp>
      <p:sp>
        <p:nvSpPr>
          <p:cNvPr id="65" name="cdtTextBox 11 Id18"/>
          <p:cNvSpPr txBox="1"/>
          <p:nvPr>
            <p:custDataLst>
              <p:tags r:id="rId61"/>
            </p:custDataLst>
          </p:nvPr>
        </p:nvSpPr>
        <p:spPr>
          <a:xfrm>
            <a:off x="1" y="6562800"/>
            <a:ext cx="1764366" cy="29520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FFFFFF"/>
                </a:solidFill>
              </a:rPr>
              <a:t>Seite </a:t>
            </a:r>
            <a:fld id="{91E7552C-A157-4A4F-8E99-698C0325FC94}" type="slidenum">
              <a:rPr lang="de-DE" sz="999" noProof="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999" noProof="0">
              <a:solidFill>
                <a:srgbClr val="FFFFFF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62"/>
            </p:custDataLst>
          </p:nvPr>
        </p:nvSpPr>
        <p:spPr>
          <a:xfrm>
            <a:off x="3785793" y="6562800"/>
            <a:ext cx="8406206" cy="295200"/>
          </a:xfrm>
          <a:prstGeom prst="rect">
            <a:avLst/>
          </a:prstGeom>
          <a:noFill/>
        </p:spPr>
        <p:txBody>
          <a:bodyPr wrap="square" lIns="0" tIns="0" rIns="482149" bIns="11514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FFFFFF"/>
                </a:solidFill>
              </a:rPr>
              <a:t>Autor / Abteilung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3582F6E-5F7D-48FE-82D2-A2934A33A0EF}"/>
              </a:ext>
            </a:extLst>
          </p:cNvPr>
          <p:cNvPicPr>
            <a:picLocks noChangeAspect="1"/>
          </p:cNvPicPr>
          <p:nvPr userDrawn="1"/>
        </p:nvPicPr>
        <p:blipFill>
          <a:blip r:embed="rId6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  <p:sp>
        <p:nvSpPr>
          <p:cNvPr id="58" name="cdtTextBox 12 Id17">
            <a:extLst>
              <a:ext uri="{FF2B5EF4-FFF2-40B4-BE49-F238E27FC236}">
                <a16:creationId xmlns:a16="http://schemas.microsoft.com/office/drawing/2014/main" id="{67D0F24B-9765-4C96-A340-4AFE27D1C785}"/>
              </a:ext>
            </a:extLst>
          </p:cNvPr>
          <p:cNvSpPr txBox="1"/>
          <p:nvPr userDrawn="1">
            <p:custDataLst>
              <p:tags r:id="rId63"/>
            </p:custDataLst>
          </p:nvPr>
        </p:nvSpPr>
        <p:spPr>
          <a:xfrm>
            <a:off x="0" y="6562800"/>
            <a:ext cx="3930183" cy="29520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FFFFFF"/>
                </a:solidFill>
              </a:rPr>
              <a:t>TT.MM.JJJJ</a:t>
            </a:r>
          </a:p>
        </p:txBody>
      </p:sp>
      <p:sp>
        <p:nvSpPr>
          <p:cNvPr id="67" name="cdtTextBox 11 Id18">
            <a:extLst>
              <a:ext uri="{FF2B5EF4-FFF2-40B4-BE49-F238E27FC236}">
                <a16:creationId xmlns:a16="http://schemas.microsoft.com/office/drawing/2014/main" id="{D2A13474-212E-4FAD-88AC-B256095E68E8}"/>
              </a:ext>
            </a:extLst>
          </p:cNvPr>
          <p:cNvSpPr txBox="1"/>
          <p:nvPr userDrawn="1">
            <p:custDataLst>
              <p:tags r:id="rId64"/>
            </p:custDataLst>
          </p:nvPr>
        </p:nvSpPr>
        <p:spPr>
          <a:xfrm>
            <a:off x="1" y="6562800"/>
            <a:ext cx="1764366" cy="29520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FFFFFF"/>
                </a:solidFill>
              </a:rPr>
              <a:t>Seite </a:t>
            </a:r>
            <a:fld id="{91E7552C-A157-4A4F-8E99-698C0325FC94}" type="slidenum">
              <a:rPr lang="de-DE" sz="999" noProof="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999" noProof="0">
              <a:solidFill>
                <a:srgbClr val="FFFFFF"/>
              </a:solidFill>
            </a:endParaRPr>
          </a:p>
        </p:txBody>
      </p:sp>
      <p:sp>
        <p:nvSpPr>
          <p:cNvPr id="68" name="cdtTextBox 13 Id19">
            <a:extLst>
              <a:ext uri="{FF2B5EF4-FFF2-40B4-BE49-F238E27FC236}">
                <a16:creationId xmlns:a16="http://schemas.microsoft.com/office/drawing/2014/main" id="{7E3C5B99-3679-4E13-A7F7-0575FE7A4E73}"/>
              </a:ext>
            </a:extLst>
          </p:cNvPr>
          <p:cNvSpPr txBox="1"/>
          <p:nvPr userDrawn="1">
            <p:custDataLst>
              <p:tags r:id="rId65"/>
            </p:custDataLst>
          </p:nvPr>
        </p:nvSpPr>
        <p:spPr>
          <a:xfrm>
            <a:off x="3785793" y="6562800"/>
            <a:ext cx="8406206" cy="295200"/>
          </a:xfrm>
          <a:prstGeom prst="rect">
            <a:avLst/>
          </a:prstGeom>
          <a:noFill/>
        </p:spPr>
        <p:txBody>
          <a:bodyPr wrap="square" lIns="0" tIns="0" rIns="482149" bIns="11514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FFFFFF"/>
                </a:solidFill>
              </a:rPr>
              <a:t>Autor / Abteilung</a:t>
            </a:r>
          </a:p>
        </p:txBody>
      </p:sp>
      <p:sp>
        <p:nvSpPr>
          <p:cNvPr id="69" name="cdtTextBox 12 Id17">
            <a:extLst>
              <a:ext uri="{FF2B5EF4-FFF2-40B4-BE49-F238E27FC236}">
                <a16:creationId xmlns:a16="http://schemas.microsoft.com/office/drawing/2014/main" id="{2634A5CA-3CB9-4ABD-A0FF-A9D9834DE8C1}"/>
              </a:ext>
            </a:extLst>
          </p:cNvPr>
          <p:cNvSpPr txBox="1"/>
          <p:nvPr userDrawn="1">
            <p:custDataLst>
              <p:tags r:id="rId66"/>
            </p:custDataLst>
          </p:nvPr>
        </p:nvSpPr>
        <p:spPr>
          <a:xfrm>
            <a:off x="0" y="6597650"/>
            <a:ext cx="3930183" cy="26035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>
                <a:solidFill>
                  <a:srgbClr val="000000"/>
                </a:solidFill>
              </a:rPr>
              <a:t>August </a:t>
            </a:r>
            <a:r>
              <a:rPr lang="de-DE" sz="999" noProof="0">
                <a:solidFill>
                  <a:srgbClr val="000000"/>
                </a:solidFill>
              </a:rPr>
              <a:t>2020</a:t>
            </a:r>
          </a:p>
        </p:txBody>
      </p:sp>
      <p:sp>
        <p:nvSpPr>
          <p:cNvPr id="70" name="cdtTextBox 11 Id18">
            <a:extLst>
              <a:ext uri="{FF2B5EF4-FFF2-40B4-BE49-F238E27FC236}">
                <a16:creationId xmlns:a16="http://schemas.microsoft.com/office/drawing/2014/main" id="{3BC045FB-FAA6-4BA9-8345-ED78A2984842}"/>
              </a:ext>
            </a:extLst>
          </p:cNvPr>
          <p:cNvSpPr txBox="1"/>
          <p:nvPr userDrawn="1">
            <p:custDataLst>
              <p:tags r:id="rId67"/>
            </p:custDataLst>
          </p:nvPr>
        </p:nvSpPr>
        <p:spPr>
          <a:xfrm>
            <a:off x="1" y="6597650"/>
            <a:ext cx="1764366" cy="26035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999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999" noProof="0">
              <a:solidFill>
                <a:srgbClr val="000000"/>
              </a:solidFill>
            </a:endParaRPr>
          </a:p>
        </p:txBody>
      </p:sp>
      <p:sp>
        <p:nvSpPr>
          <p:cNvPr id="71" name="cdtTextBox 13 Id19">
            <a:extLst>
              <a:ext uri="{FF2B5EF4-FFF2-40B4-BE49-F238E27FC236}">
                <a16:creationId xmlns:a16="http://schemas.microsoft.com/office/drawing/2014/main" id="{47BB1F9D-BC6C-479B-9A7E-115007C03DAA}"/>
              </a:ext>
            </a:extLst>
          </p:cNvPr>
          <p:cNvSpPr txBox="1"/>
          <p:nvPr userDrawn="1">
            <p:custDataLst>
              <p:tags r:id="rId68"/>
            </p:custDataLst>
          </p:nvPr>
        </p:nvSpPr>
        <p:spPr>
          <a:xfrm>
            <a:off x="3785793" y="6597650"/>
            <a:ext cx="8406206" cy="260350"/>
          </a:xfrm>
          <a:prstGeom prst="rect">
            <a:avLst/>
          </a:prstGeom>
          <a:noFill/>
        </p:spPr>
        <p:txBody>
          <a:bodyPr wrap="square" lIns="0" tIns="0" rIns="482149" bIns="11514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000000"/>
                </a:solidFill>
              </a:rPr>
              <a:t>siemens.com</a:t>
            </a:r>
          </a:p>
        </p:txBody>
      </p:sp>
    </p:spTree>
    <p:extLst>
      <p:ext uri="{BB962C8B-B14F-4D97-AF65-F5344CB8AC3E}">
        <p14:creationId xmlns:p14="http://schemas.microsoft.com/office/powerpoint/2010/main" val="3656698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53" r:id="rId2"/>
    <p:sldLayoutId id="2147484354" r:id="rId3"/>
    <p:sldLayoutId id="2147484355" r:id="rId4"/>
    <p:sldLayoutId id="2147484356" r:id="rId5"/>
    <p:sldLayoutId id="2147484357" r:id="rId6"/>
    <p:sldLayoutId id="2147484358" r:id="rId7"/>
    <p:sldLayoutId id="2147484359" r:id="rId8"/>
    <p:sldLayoutId id="2147484360" r:id="rId9"/>
    <p:sldLayoutId id="2147484361" r:id="rId10"/>
    <p:sldLayoutId id="2147484362" r:id="rId11"/>
    <p:sldLayoutId id="2147484363" r:id="rId12"/>
    <p:sldLayoutId id="2147484364" r:id="rId13"/>
    <p:sldLayoutId id="2147484365" r:id="rId14"/>
    <p:sldLayoutId id="2147484366" r:id="rId15"/>
    <p:sldLayoutId id="2147484367" r:id="rId16"/>
    <p:sldLayoutId id="2147484368" r:id="rId17"/>
    <p:sldLayoutId id="2147484369" r:id="rId18"/>
    <p:sldLayoutId id="2147484370" r:id="rId19"/>
    <p:sldLayoutId id="2147484371" r:id="rId20"/>
    <p:sldLayoutId id="2147484372" r:id="rId21"/>
    <p:sldLayoutId id="2147484373" r:id="rId22"/>
    <p:sldLayoutId id="2147484374" r:id="rId23"/>
    <p:sldLayoutId id="2147484375" r:id="rId24"/>
    <p:sldLayoutId id="2147484376" r:id="rId25"/>
    <p:sldLayoutId id="2147484377" r:id="rId26"/>
    <p:sldLayoutId id="2147484378" r:id="rId27"/>
    <p:sldLayoutId id="2147484379" r:id="rId28"/>
    <p:sldLayoutId id="2147484380" r:id="rId29"/>
    <p:sldLayoutId id="2147484381" r:id="rId30"/>
    <p:sldLayoutId id="2147484383" r:id="rId31"/>
    <p:sldLayoutId id="2147484384" r:id="rId3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640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2">
          <p15:clr>
            <a:srgbClr val="F26B43"/>
          </p15:clr>
        </p15:guide>
        <p15:guide id="2" pos="3932">
          <p15:clr>
            <a:srgbClr val="F26B43"/>
          </p15:clr>
        </p15:guide>
        <p15:guide id="3" pos="5566">
          <p15:clr>
            <a:srgbClr val="F26B43"/>
          </p15:clr>
        </p15:guide>
        <p15:guide id="4" pos="7380">
          <p15:clr>
            <a:srgbClr val="F26B43"/>
          </p15:clr>
        </p15:guide>
        <p15:guide id="5" pos="395">
          <p15:clr>
            <a:srgbClr val="F26B43"/>
          </p15:clr>
        </p15:guide>
        <p15:guide id="6" orient="horz" pos="2341">
          <p15:clr>
            <a:srgbClr val="F26B43"/>
          </p15:clr>
        </p15:guide>
        <p15:guide id="7" orient="horz" pos="2433">
          <p15:clr>
            <a:srgbClr val="F26B43"/>
          </p15:clr>
        </p15:guide>
        <p15:guide id="8" orient="horz" pos="891">
          <p15:clr>
            <a:srgbClr val="F26B43"/>
          </p15:clr>
        </p15:guide>
        <p15:guide id="10" orient="horz" pos="210">
          <p15:clr>
            <a:srgbClr val="F26B43"/>
          </p15:clr>
        </p15:guide>
        <p15:guide id="11" orient="horz" pos="3884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2"/>
            </p:custDataLst>
          </p:nvPr>
        </p:nvSpPr>
        <p:spPr bwMode="auto">
          <a:xfrm>
            <a:off x="0" y="-1"/>
            <a:ext cx="12192000" cy="14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08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itelmasterformat durch Klicken bearbeiten</a:t>
            </a:r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3"/>
            </p:custDataLst>
          </p:nvPr>
        </p:nvSpPr>
        <p:spPr bwMode="auto">
          <a:xfrm>
            <a:off x="626736" y="1414801"/>
            <a:ext cx="8204689" cy="4750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5888" y="-216000"/>
            <a:ext cx="12622226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0" y="6166801"/>
            <a:ext cx="12192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074" tIns="143925" rIns="3209528" bIns="0" anchor="ctr"/>
          <a:lstStyle/>
          <a:p>
            <a:r>
              <a:rPr lang="de-DE" sz="999" b="1" noProof="0">
                <a:solidFill>
                  <a:srgbClr val="879BAA"/>
                </a:solidFill>
              </a:rPr>
              <a:t>© Siemens 2020</a:t>
            </a:r>
          </a:p>
        </p:txBody>
      </p:sp>
      <p:sp>
        <p:nvSpPr>
          <p:cNvPr id="64" name="cdtTextBox 12 Id17"/>
          <p:cNvSpPr txBox="1"/>
          <p:nvPr>
            <p:custDataLst>
              <p:tags r:id="rId58"/>
            </p:custDataLst>
          </p:nvPr>
        </p:nvSpPr>
        <p:spPr>
          <a:xfrm>
            <a:off x="0" y="6562800"/>
            <a:ext cx="3930183" cy="29520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FFFFFF"/>
                </a:solidFill>
              </a:rPr>
              <a:t>TT.MM.JJJJ</a:t>
            </a:r>
          </a:p>
        </p:txBody>
      </p:sp>
      <p:sp>
        <p:nvSpPr>
          <p:cNvPr id="65" name="cdtTextBox 11 Id18"/>
          <p:cNvSpPr txBox="1"/>
          <p:nvPr>
            <p:custDataLst>
              <p:tags r:id="rId59"/>
            </p:custDataLst>
          </p:nvPr>
        </p:nvSpPr>
        <p:spPr>
          <a:xfrm>
            <a:off x="1" y="6562800"/>
            <a:ext cx="1764366" cy="29520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FFFFFF"/>
                </a:solidFill>
              </a:rPr>
              <a:t>Seite </a:t>
            </a:r>
            <a:fld id="{91E7552C-A157-4A4F-8E99-698C0325FC94}" type="slidenum">
              <a:rPr lang="de-DE" sz="999" noProof="0" smtClean="0">
                <a:solidFill>
                  <a:srgbClr val="FFFFFF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999" noProof="0">
              <a:solidFill>
                <a:srgbClr val="FFFFFF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60"/>
            </p:custDataLst>
          </p:nvPr>
        </p:nvSpPr>
        <p:spPr>
          <a:xfrm>
            <a:off x="3785793" y="6562800"/>
            <a:ext cx="8406206" cy="295200"/>
          </a:xfrm>
          <a:prstGeom prst="rect">
            <a:avLst/>
          </a:prstGeom>
          <a:noFill/>
        </p:spPr>
        <p:txBody>
          <a:bodyPr wrap="square" lIns="0" tIns="0" rIns="482149" bIns="11514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FFFFFF"/>
                </a:solidFill>
              </a:rPr>
              <a:t>Autor / Abteilung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3582F6E-5F7D-48FE-82D2-A2934A33A0EF}"/>
              </a:ext>
            </a:extLst>
          </p:cNvPr>
          <p:cNvPicPr>
            <a:picLocks noChangeAspect="1"/>
          </p:cNvPicPr>
          <p:nvPr userDrawn="1"/>
        </p:nvPicPr>
        <p:blipFill>
          <a:blip r:embed="rId6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9549189" y="324000"/>
            <a:ext cx="2158876" cy="913680"/>
          </a:xfrm>
          <a:prstGeom prst="rect">
            <a:avLst/>
          </a:prstGeom>
        </p:spPr>
      </p:pic>
      <p:sp>
        <p:nvSpPr>
          <p:cNvPr id="58" name="cdtTextBox 12 Id17">
            <a:extLst>
              <a:ext uri="{FF2B5EF4-FFF2-40B4-BE49-F238E27FC236}">
                <a16:creationId xmlns:a16="http://schemas.microsoft.com/office/drawing/2014/main" id="{BCC0ED3A-8C9F-4621-9188-8A0201DB7CDC}"/>
              </a:ext>
            </a:extLst>
          </p:cNvPr>
          <p:cNvSpPr txBox="1"/>
          <p:nvPr userDrawn="1">
            <p:custDataLst>
              <p:tags r:id="rId61"/>
            </p:custDataLst>
          </p:nvPr>
        </p:nvSpPr>
        <p:spPr>
          <a:xfrm>
            <a:off x="0" y="6597650"/>
            <a:ext cx="3930183" cy="260350"/>
          </a:xfrm>
          <a:prstGeom prst="rect">
            <a:avLst/>
          </a:prstGeom>
          <a:noFill/>
        </p:spPr>
        <p:txBody>
          <a:bodyPr wrap="square" lIns="1907007" tIns="0" rIns="0" bIns="11514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000000"/>
                </a:solidFill>
              </a:rPr>
              <a:t>Juli 2020</a:t>
            </a:r>
          </a:p>
        </p:txBody>
      </p:sp>
      <p:sp>
        <p:nvSpPr>
          <p:cNvPr id="67" name="cdtTextBox 11 Id18">
            <a:extLst>
              <a:ext uri="{FF2B5EF4-FFF2-40B4-BE49-F238E27FC236}">
                <a16:creationId xmlns:a16="http://schemas.microsoft.com/office/drawing/2014/main" id="{19040ACD-570E-4628-A183-42CA500732B2}"/>
              </a:ext>
            </a:extLst>
          </p:cNvPr>
          <p:cNvSpPr txBox="1"/>
          <p:nvPr userDrawn="1">
            <p:custDataLst>
              <p:tags r:id="rId62"/>
            </p:custDataLst>
          </p:nvPr>
        </p:nvSpPr>
        <p:spPr>
          <a:xfrm>
            <a:off x="1" y="6597650"/>
            <a:ext cx="1764366" cy="260350"/>
          </a:xfrm>
          <a:prstGeom prst="rect">
            <a:avLst/>
          </a:prstGeom>
          <a:noFill/>
        </p:spPr>
        <p:txBody>
          <a:bodyPr wrap="square" lIns="626074" tIns="0" rIns="0" bIns="11514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000000"/>
                </a:solidFill>
              </a:rPr>
              <a:t>Seite </a:t>
            </a:r>
            <a:fld id="{91E7552C-A157-4A4F-8E99-698C0325FC94}" type="slidenum">
              <a:rPr lang="de-DE" sz="999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999" noProof="0">
              <a:solidFill>
                <a:srgbClr val="000000"/>
              </a:solidFill>
            </a:endParaRPr>
          </a:p>
        </p:txBody>
      </p:sp>
      <p:sp>
        <p:nvSpPr>
          <p:cNvPr id="68" name="cdtTextBox 13 Id19">
            <a:extLst>
              <a:ext uri="{FF2B5EF4-FFF2-40B4-BE49-F238E27FC236}">
                <a16:creationId xmlns:a16="http://schemas.microsoft.com/office/drawing/2014/main" id="{EFC4B672-F526-4BA9-A06D-EF5F0B6E2733}"/>
              </a:ext>
            </a:extLst>
          </p:cNvPr>
          <p:cNvSpPr txBox="1"/>
          <p:nvPr userDrawn="1">
            <p:custDataLst>
              <p:tags r:id="rId63"/>
            </p:custDataLst>
          </p:nvPr>
        </p:nvSpPr>
        <p:spPr>
          <a:xfrm>
            <a:off x="3785793" y="6597650"/>
            <a:ext cx="8406206" cy="260350"/>
          </a:xfrm>
          <a:prstGeom prst="rect">
            <a:avLst/>
          </a:prstGeom>
          <a:noFill/>
        </p:spPr>
        <p:txBody>
          <a:bodyPr wrap="square" lIns="0" tIns="0" rIns="482149" bIns="11514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999" noProof="0">
                <a:solidFill>
                  <a:srgbClr val="000000"/>
                </a:solidFill>
              </a:rPr>
              <a:t>siemens.com</a:t>
            </a:r>
          </a:p>
        </p:txBody>
      </p:sp>
    </p:spTree>
    <p:extLst>
      <p:ext uri="{BB962C8B-B14F-4D97-AF65-F5344CB8AC3E}">
        <p14:creationId xmlns:p14="http://schemas.microsoft.com/office/powerpoint/2010/main" val="207305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6" r:id="rId1"/>
    <p:sldLayoutId id="2147484387" r:id="rId2"/>
    <p:sldLayoutId id="2147484388" r:id="rId3"/>
    <p:sldLayoutId id="2147484389" r:id="rId4"/>
    <p:sldLayoutId id="2147484390" r:id="rId5"/>
    <p:sldLayoutId id="2147484391" r:id="rId6"/>
    <p:sldLayoutId id="2147484392" r:id="rId7"/>
    <p:sldLayoutId id="2147484393" r:id="rId8"/>
    <p:sldLayoutId id="2147484394" r:id="rId9"/>
    <p:sldLayoutId id="2147484395" r:id="rId10"/>
    <p:sldLayoutId id="2147484396" r:id="rId11"/>
    <p:sldLayoutId id="2147484397" r:id="rId12"/>
    <p:sldLayoutId id="2147484398" r:id="rId13"/>
    <p:sldLayoutId id="2147484399" r:id="rId14"/>
    <p:sldLayoutId id="2147484400" r:id="rId15"/>
    <p:sldLayoutId id="2147484401" r:id="rId16"/>
    <p:sldLayoutId id="2147484402" r:id="rId17"/>
    <p:sldLayoutId id="2147484403" r:id="rId18"/>
    <p:sldLayoutId id="2147484404" r:id="rId19"/>
    <p:sldLayoutId id="2147484405" r:id="rId20"/>
    <p:sldLayoutId id="2147484406" r:id="rId21"/>
    <p:sldLayoutId id="2147484407" r:id="rId22"/>
    <p:sldLayoutId id="2147484408" r:id="rId23"/>
    <p:sldLayoutId id="2147484409" r:id="rId24"/>
    <p:sldLayoutId id="2147484410" r:id="rId25"/>
    <p:sldLayoutId id="2147484411" r:id="rId26"/>
    <p:sldLayoutId id="2147484412" r:id="rId27"/>
    <p:sldLayoutId id="2147484413" r:id="rId28"/>
    <p:sldLayoutId id="2147484414" r:id="rId29"/>
    <p:sldLayoutId id="2147484415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6971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3943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0914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788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298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596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7894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640" indent="-17991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1964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2">
          <p15:clr>
            <a:srgbClr val="F26B43"/>
          </p15:clr>
        </p15:guide>
        <p15:guide id="2" pos="3932">
          <p15:clr>
            <a:srgbClr val="F26B43"/>
          </p15:clr>
        </p15:guide>
        <p15:guide id="3" pos="5566">
          <p15:clr>
            <a:srgbClr val="F26B43"/>
          </p15:clr>
        </p15:guide>
        <p15:guide id="4" pos="7380">
          <p15:clr>
            <a:srgbClr val="F26B43"/>
          </p15:clr>
        </p15:guide>
        <p15:guide id="5" pos="395">
          <p15:clr>
            <a:srgbClr val="F26B43"/>
          </p15:clr>
        </p15:guide>
        <p15:guide id="6" orient="horz" pos="2341">
          <p15:clr>
            <a:srgbClr val="F26B43"/>
          </p15:clr>
        </p15:guide>
        <p15:guide id="7" orient="horz" pos="2433">
          <p15:clr>
            <a:srgbClr val="F26B43"/>
          </p15:clr>
        </p15:guide>
        <p15:guide id="8" orient="horz" pos="891">
          <p15:clr>
            <a:srgbClr val="F26B43"/>
          </p15:clr>
        </p15:guide>
        <p15:guide id="10" orient="horz" pos="210">
          <p15:clr>
            <a:srgbClr val="F26B43"/>
          </p15:clr>
        </p15:guide>
        <p15:guide id="11" orient="horz" pos="38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89DA8-A872-446D-80FE-9D7B7C3A3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101111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0" imgW="306" imgH="306" progId="TCLayout.ActiveDocument.1">
                  <p:embed/>
                </p:oleObj>
              </mc:Choice>
              <mc:Fallback>
                <p:oleObj name="think-cell Folie" r:id="rId50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BB89DA8-A872-446D-80FE-9D7B7C3A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EF07EF9-44DB-4AA0-B795-5427EB8EBA74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42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  <p:sldLayoutId id="2147483790" r:id="rId39"/>
    <p:sldLayoutId id="2147483791" r:id="rId40"/>
    <p:sldLayoutId id="2147483792" r:id="rId41"/>
    <p:sldLayoutId id="2147483793" r:id="rId42"/>
    <p:sldLayoutId id="2147483794" r:id="rId43"/>
    <p:sldLayoutId id="2147483795" r:id="rId44"/>
    <p:sldLayoutId id="2147483796" r:id="rId45"/>
    <p:sldLayoutId id="2147483797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038239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306" imgH="306" progId="TCLayout.ActiveDocument.1">
                  <p:embed/>
                </p:oleObj>
              </mc:Choice>
              <mc:Fallback>
                <p:oleObj name="think-cell Folie" r:id="rId2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516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  <p:sldLayoutId id="2147483818" r:id="rId20"/>
    <p:sldLayoutId id="2147483819" r:id="rId21"/>
    <p:sldLayoutId id="2147483820" r:id="rId2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2474019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6" imgW="306" imgH="306" progId="TCLayout.ActiveDocument.1">
                  <p:embed/>
                </p:oleObj>
              </mc:Choice>
              <mc:Fallback>
                <p:oleObj name="think-cell Folie" r:id="rId5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162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  <p:sldLayoutId id="2147483858" r:id="rId37"/>
    <p:sldLayoutId id="2147483859" r:id="rId38"/>
    <p:sldLayoutId id="2147483860" r:id="rId39"/>
    <p:sldLayoutId id="2147483861" r:id="rId40"/>
    <p:sldLayoutId id="2147483862" r:id="rId41"/>
    <p:sldLayoutId id="2147483863" r:id="rId42"/>
    <p:sldLayoutId id="2147483864" r:id="rId43"/>
    <p:sldLayoutId id="2147483865" r:id="rId44"/>
    <p:sldLayoutId id="2147483866" r:id="rId45"/>
    <p:sldLayoutId id="2147483867" r:id="rId46"/>
    <p:sldLayoutId id="2147483868" r:id="rId47"/>
    <p:sldLayoutId id="2147483869" r:id="rId48"/>
    <p:sldLayoutId id="2147483870" r:id="rId49"/>
    <p:sldLayoutId id="2147483871" r:id="rId50"/>
    <p:sldLayoutId id="2147483872" r:id="rId51"/>
    <p:sldLayoutId id="2147483873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2795267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6" imgW="306" imgH="306" progId="TCLayout.ActiveDocument.1">
                  <p:embed/>
                </p:oleObj>
              </mc:Choice>
              <mc:Fallback>
                <p:oleObj name="think-cell Folie" r:id="rId5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01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  <p:sldLayoutId id="2147483893" r:id="rId19"/>
    <p:sldLayoutId id="2147483894" r:id="rId20"/>
    <p:sldLayoutId id="2147483895" r:id="rId21"/>
    <p:sldLayoutId id="2147483896" r:id="rId22"/>
    <p:sldLayoutId id="2147483897" r:id="rId23"/>
    <p:sldLayoutId id="2147483898" r:id="rId24"/>
    <p:sldLayoutId id="2147483899" r:id="rId25"/>
    <p:sldLayoutId id="2147483900" r:id="rId26"/>
    <p:sldLayoutId id="2147483901" r:id="rId27"/>
    <p:sldLayoutId id="2147483902" r:id="rId28"/>
    <p:sldLayoutId id="2147483903" r:id="rId29"/>
    <p:sldLayoutId id="2147483904" r:id="rId30"/>
    <p:sldLayoutId id="2147483905" r:id="rId31"/>
    <p:sldLayoutId id="2147483906" r:id="rId32"/>
    <p:sldLayoutId id="2147483907" r:id="rId33"/>
    <p:sldLayoutId id="2147483908" r:id="rId34"/>
    <p:sldLayoutId id="2147483909" r:id="rId35"/>
    <p:sldLayoutId id="2147483910" r:id="rId36"/>
    <p:sldLayoutId id="2147483911" r:id="rId37"/>
    <p:sldLayoutId id="2147483912" r:id="rId38"/>
    <p:sldLayoutId id="2147483913" r:id="rId39"/>
    <p:sldLayoutId id="2147483914" r:id="rId40"/>
    <p:sldLayoutId id="2147483915" r:id="rId41"/>
    <p:sldLayoutId id="2147483916" r:id="rId42"/>
    <p:sldLayoutId id="2147483917" r:id="rId43"/>
    <p:sldLayoutId id="2147483918" r:id="rId44"/>
    <p:sldLayoutId id="2147483919" r:id="rId45"/>
    <p:sldLayoutId id="2147483920" r:id="rId46"/>
    <p:sldLayoutId id="2147483921" r:id="rId47"/>
    <p:sldLayoutId id="2147483922" r:id="rId48"/>
    <p:sldLayoutId id="2147483923" r:id="rId49"/>
    <p:sldLayoutId id="2147483924" r:id="rId50"/>
    <p:sldLayoutId id="2147483925" r:id="rId51"/>
    <p:sldLayoutId id="2147483926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349756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6" imgW="306" imgH="306" progId="TCLayout.ActiveDocument.1">
                  <p:embed/>
                </p:oleObj>
              </mc:Choice>
              <mc:Fallback>
                <p:oleObj name="think-cell Folie" r:id="rId5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275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39" r:id="rId12"/>
    <p:sldLayoutId id="2147483940" r:id="rId13"/>
    <p:sldLayoutId id="2147483941" r:id="rId14"/>
    <p:sldLayoutId id="2147483942" r:id="rId15"/>
    <p:sldLayoutId id="2147483943" r:id="rId16"/>
    <p:sldLayoutId id="2147483944" r:id="rId17"/>
    <p:sldLayoutId id="2147483945" r:id="rId18"/>
    <p:sldLayoutId id="2147483946" r:id="rId19"/>
    <p:sldLayoutId id="2147483947" r:id="rId20"/>
    <p:sldLayoutId id="2147483948" r:id="rId21"/>
    <p:sldLayoutId id="2147483949" r:id="rId22"/>
    <p:sldLayoutId id="2147483950" r:id="rId23"/>
    <p:sldLayoutId id="2147483951" r:id="rId24"/>
    <p:sldLayoutId id="2147483952" r:id="rId25"/>
    <p:sldLayoutId id="2147483953" r:id="rId26"/>
    <p:sldLayoutId id="2147483954" r:id="rId27"/>
    <p:sldLayoutId id="2147483955" r:id="rId28"/>
    <p:sldLayoutId id="2147483956" r:id="rId29"/>
    <p:sldLayoutId id="2147483957" r:id="rId30"/>
    <p:sldLayoutId id="2147483958" r:id="rId31"/>
    <p:sldLayoutId id="2147483959" r:id="rId32"/>
    <p:sldLayoutId id="2147483960" r:id="rId33"/>
    <p:sldLayoutId id="2147483961" r:id="rId34"/>
    <p:sldLayoutId id="2147483962" r:id="rId35"/>
    <p:sldLayoutId id="2147483963" r:id="rId36"/>
    <p:sldLayoutId id="2147483964" r:id="rId37"/>
    <p:sldLayoutId id="2147483965" r:id="rId38"/>
    <p:sldLayoutId id="2147483966" r:id="rId39"/>
    <p:sldLayoutId id="2147483967" r:id="rId40"/>
    <p:sldLayoutId id="2147483968" r:id="rId41"/>
    <p:sldLayoutId id="2147483969" r:id="rId42"/>
    <p:sldLayoutId id="2147483970" r:id="rId43"/>
    <p:sldLayoutId id="2147483971" r:id="rId44"/>
    <p:sldLayoutId id="2147483972" r:id="rId45"/>
    <p:sldLayoutId id="2147483973" r:id="rId46"/>
    <p:sldLayoutId id="2147483974" r:id="rId47"/>
    <p:sldLayoutId id="2147483975" r:id="rId48"/>
    <p:sldLayoutId id="2147483976" r:id="rId49"/>
    <p:sldLayoutId id="2147483977" r:id="rId50"/>
    <p:sldLayoutId id="2147483978" r:id="rId51"/>
    <p:sldLayoutId id="2147483979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386460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8" imgW="306" imgH="306" progId="TCLayout.ActiveDocument.1">
                  <p:embed/>
                </p:oleObj>
              </mc:Choice>
              <mc:Fallback>
                <p:oleObj name="think-cell Folie" r:id="rId58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8772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3982" r:id="rId2"/>
    <p:sldLayoutId id="2147483983" r:id="rId3"/>
    <p:sldLayoutId id="2147483984" r:id="rId4"/>
    <p:sldLayoutId id="2147483985" r:id="rId5"/>
    <p:sldLayoutId id="2147483986" r:id="rId6"/>
    <p:sldLayoutId id="2147483987" r:id="rId7"/>
    <p:sldLayoutId id="2147483988" r:id="rId8"/>
    <p:sldLayoutId id="2147483989" r:id="rId9"/>
    <p:sldLayoutId id="2147483990" r:id="rId10"/>
    <p:sldLayoutId id="2147483991" r:id="rId11"/>
    <p:sldLayoutId id="2147483992" r:id="rId12"/>
    <p:sldLayoutId id="2147483993" r:id="rId13"/>
    <p:sldLayoutId id="2147483994" r:id="rId14"/>
    <p:sldLayoutId id="2147483995" r:id="rId15"/>
    <p:sldLayoutId id="2147483996" r:id="rId16"/>
    <p:sldLayoutId id="2147483997" r:id="rId17"/>
    <p:sldLayoutId id="2147483998" r:id="rId18"/>
    <p:sldLayoutId id="2147483999" r:id="rId19"/>
    <p:sldLayoutId id="2147484000" r:id="rId20"/>
    <p:sldLayoutId id="2147484001" r:id="rId21"/>
    <p:sldLayoutId id="2147484002" r:id="rId22"/>
    <p:sldLayoutId id="2147484003" r:id="rId23"/>
    <p:sldLayoutId id="2147484004" r:id="rId24"/>
    <p:sldLayoutId id="2147484005" r:id="rId25"/>
    <p:sldLayoutId id="2147484006" r:id="rId26"/>
    <p:sldLayoutId id="2147484007" r:id="rId27"/>
    <p:sldLayoutId id="2147484008" r:id="rId28"/>
    <p:sldLayoutId id="2147484009" r:id="rId29"/>
    <p:sldLayoutId id="2147484010" r:id="rId30"/>
    <p:sldLayoutId id="2147484011" r:id="rId31"/>
    <p:sldLayoutId id="2147484012" r:id="rId32"/>
    <p:sldLayoutId id="2147484013" r:id="rId33"/>
    <p:sldLayoutId id="2147484014" r:id="rId34"/>
    <p:sldLayoutId id="2147484015" r:id="rId35"/>
    <p:sldLayoutId id="2147484016" r:id="rId36"/>
    <p:sldLayoutId id="2147484017" r:id="rId37"/>
    <p:sldLayoutId id="2147484018" r:id="rId38"/>
    <p:sldLayoutId id="2147484019" r:id="rId39"/>
    <p:sldLayoutId id="2147484020" r:id="rId40"/>
    <p:sldLayoutId id="2147484021" r:id="rId41"/>
    <p:sldLayoutId id="2147484022" r:id="rId42"/>
    <p:sldLayoutId id="2147484023" r:id="rId43"/>
    <p:sldLayoutId id="2147484024" r:id="rId44"/>
    <p:sldLayoutId id="2147484025" r:id="rId45"/>
    <p:sldLayoutId id="2147484026" r:id="rId46"/>
    <p:sldLayoutId id="2147484027" r:id="rId47"/>
    <p:sldLayoutId id="2147484028" r:id="rId48"/>
    <p:sldLayoutId id="2147484029" r:id="rId49"/>
    <p:sldLayoutId id="2147484030" r:id="rId50"/>
    <p:sldLayoutId id="2147484031" r:id="rId51"/>
    <p:sldLayoutId id="2147484032" r:id="rId52"/>
    <p:sldLayoutId id="2147484429" r:id="rId53"/>
    <p:sldLayoutId id="2147484432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3938045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6" imgW="306" imgH="306" progId="TCLayout.ActiveDocument.1">
                  <p:embed/>
                </p:oleObj>
              </mc:Choice>
              <mc:Fallback>
                <p:oleObj name="think-cell Folie" r:id="rId5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894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  <p:sldLayoutId id="2147484043" r:id="rId10"/>
    <p:sldLayoutId id="2147484044" r:id="rId11"/>
    <p:sldLayoutId id="2147484045" r:id="rId12"/>
    <p:sldLayoutId id="2147484046" r:id="rId13"/>
    <p:sldLayoutId id="2147484047" r:id="rId14"/>
    <p:sldLayoutId id="2147484048" r:id="rId15"/>
    <p:sldLayoutId id="2147484049" r:id="rId16"/>
    <p:sldLayoutId id="2147484050" r:id="rId17"/>
    <p:sldLayoutId id="2147484051" r:id="rId18"/>
    <p:sldLayoutId id="2147484052" r:id="rId19"/>
    <p:sldLayoutId id="2147484053" r:id="rId20"/>
    <p:sldLayoutId id="2147484054" r:id="rId21"/>
    <p:sldLayoutId id="2147484055" r:id="rId22"/>
    <p:sldLayoutId id="2147484056" r:id="rId23"/>
    <p:sldLayoutId id="2147484057" r:id="rId24"/>
    <p:sldLayoutId id="2147484058" r:id="rId25"/>
    <p:sldLayoutId id="2147484059" r:id="rId26"/>
    <p:sldLayoutId id="2147484060" r:id="rId27"/>
    <p:sldLayoutId id="2147484061" r:id="rId28"/>
    <p:sldLayoutId id="2147484062" r:id="rId29"/>
    <p:sldLayoutId id="2147484063" r:id="rId30"/>
    <p:sldLayoutId id="2147484064" r:id="rId31"/>
    <p:sldLayoutId id="2147484065" r:id="rId32"/>
    <p:sldLayoutId id="2147484066" r:id="rId33"/>
    <p:sldLayoutId id="2147484067" r:id="rId34"/>
    <p:sldLayoutId id="2147484068" r:id="rId35"/>
    <p:sldLayoutId id="2147484069" r:id="rId36"/>
    <p:sldLayoutId id="2147484070" r:id="rId37"/>
    <p:sldLayoutId id="2147484071" r:id="rId38"/>
    <p:sldLayoutId id="2147484072" r:id="rId39"/>
    <p:sldLayoutId id="2147484073" r:id="rId40"/>
    <p:sldLayoutId id="2147484074" r:id="rId41"/>
    <p:sldLayoutId id="2147484075" r:id="rId42"/>
    <p:sldLayoutId id="2147484076" r:id="rId43"/>
    <p:sldLayoutId id="2147484077" r:id="rId44"/>
    <p:sldLayoutId id="2147484078" r:id="rId45"/>
    <p:sldLayoutId id="2147484079" r:id="rId46"/>
    <p:sldLayoutId id="2147484080" r:id="rId47"/>
    <p:sldLayoutId id="2147484081" r:id="rId48"/>
    <p:sldLayoutId id="2147484082" r:id="rId49"/>
    <p:sldLayoutId id="2147484083" r:id="rId50"/>
    <p:sldLayoutId id="2147484084" r:id="rId51"/>
    <p:sldLayoutId id="2147484085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DE890C9-657A-4D1C-9CB5-5E6EF55BFE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4"/>
            </p:custDataLst>
            <p:extLst>
              <p:ext uri="{D42A27DB-BD31-4B8C-83A1-F6EECF244321}">
                <p14:modId xmlns:p14="http://schemas.microsoft.com/office/powerpoint/2010/main" val="1247958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6" imgW="306" imgH="306" progId="TCLayout.ActiveDocument.1">
                  <p:embed/>
                </p:oleObj>
              </mc:Choice>
              <mc:Fallback>
                <p:oleObj name="think-cell Folie" r:id="rId56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DE890C9-657A-4D1C-9CB5-5E6EF55BFE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16953B-6D8C-47F6-8DC3-BE7DD8108073}"/>
              </a:ext>
            </a:extLst>
          </p:cNvPr>
          <p:cNvSpPr/>
          <p:nvPr userDrawn="1">
            <p:custDataLst>
              <p:tags r:id="rId5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592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7" r:id="rId1"/>
    <p:sldLayoutId id="2147484088" r:id="rId2"/>
    <p:sldLayoutId id="2147484089" r:id="rId3"/>
    <p:sldLayoutId id="2147484090" r:id="rId4"/>
    <p:sldLayoutId id="2147484091" r:id="rId5"/>
    <p:sldLayoutId id="2147484092" r:id="rId6"/>
    <p:sldLayoutId id="2147484093" r:id="rId7"/>
    <p:sldLayoutId id="2147484094" r:id="rId8"/>
    <p:sldLayoutId id="2147484095" r:id="rId9"/>
    <p:sldLayoutId id="2147484096" r:id="rId10"/>
    <p:sldLayoutId id="2147484097" r:id="rId11"/>
    <p:sldLayoutId id="2147484098" r:id="rId12"/>
    <p:sldLayoutId id="2147484099" r:id="rId13"/>
    <p:sldLayoutId id="2147484100" r:id="rId14"/>
    <p:sldLayoutId id="2147484101" r:id="rId15"/>
    <p:sldLayoutId id="2147484102" r:id="rId16"/>
    <p:sldLayoutId id="2147484103" r:id="rId17"/>
    <p:sldLayoutId id="2147484104" r:id="rId18"/>
    <p:sldLayoutId id="2147484105" r:id="rId19"/>
    <p:sldLayoutId id="2147484106" r:id="rId20"/>
    <p:sldLayoutId id="2147484107" r:id="rId21"/>
    <p:sldLayoutId id="2147484108" r:id="rId22"/>
    <p:sldLayoutId id="2147484109" r:id="rId23"/>
    <p:sldLayoutId id="2147484110" r:id="rId24"/>
    <p:sldLayoutId id="2147484111" r:id="rId25"/>
    <p:sldLayoutId id="2147484112" r:id="rId26"/>
    <p:sldLayoutId id="2147484113" r:id="rId27"/>
    <p:sldLayoutId id="2147484114" r:id="rId28"/>
    <p:sldLayoutId id="2147484115" r:id="rId29"/>
    <p:sldLayoutId id="2147484116" r:id="rId30"/>
    <p:sldLayoutId id="2147484117" r:id="rId31"/>
    <p:sldLayoutId id="2147484118" r:id="rId32"/>
    <p:sldLayoutId id="2147484119" r:id="rId33"/>
    <p:sldLayoutId id="2147484120" r:id="rId34"/>
    <p:sldLayoutId id="2147484121" r:id="rId35"/>
    <p:sldLayoutId id="2147484122" r:id="rId36"/>
    <p:sldLayoutId id="2147484123" r:id="rId37"/>
    <p:sldLayoutId id="2147484124" r:id="rId38"/>
    <p:sldLayoutId id="2147484125" r:id="rId39"/>
    <p:sldLayoutId id="2147484126" r:id="rId40"/>
    <p:sldLayoutId id="2147484127" r:id="rId41"/>
    <p:sldLayoutId id="2147484128" r:id="rId42"/>
    <p:sldLayoutId id="2147484129" r:id="rId43"/>
    <p:sldLayoutId id="2147484130" r:id="rId44"/>
    <p:sldLayoutId id="2147484131" r:id="rId45"/>
    <p:sldLayoutId id="2147484132" r:id="rId46"/>
    <p:sldLayoutId id="2147484133" r:id="rId47"/>
    <p:sldLayoutId id="2147484134" r:id="rId48"/>
    <p:sldLayoutId id="2147484135" r:id="rId49"/>
    <p:sldLayoutId id="2147484136" r:id="rId50"/>
    <p:sldLayoutId id="2147484137" r:id="rId51"/>
    <p:sldLayoutId id="2147484138" r:id="rId5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>
            <a:extLst>
              <a:ext uri="{FF2B5EF4-FFF2-40B4-BE49-F238E27FC236}">
                <a16:creationId xmlns:a16="http://schemas.microsoft.com/office/drawing/2014/main" id="{133825E6-44DE-B3C5-D608-8D3EB4ED9C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605" y="-156409"/>
            <a:ext cx="11730789" cy="7820526"/>
          </a:xfrm>
          <a:prstGeom prst="rect">
            <a:avLst/>
          </a:prstGeom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129D7802-7806-668A-BD7F-3E93427FBED3}"/>
              </a:ext>
            </a:extLst>
          </p:cNvPr>
          <p:cNvSpPr txBox="1"/>
          <p:nvPr/>
        </p:nvSpPr>
        <p:spPr>
          <a:xfrm>
            <a:off x="410401" y="4762525"/>
            <a:ext cx="514511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3600" dirty="0">
                <a:latin typeface="+mj-lt"/>
              </a:rPr>
              <a:t>Cena </a:t>
            </a:r>
            <a:r>
              <a:rPr lang="cs-CZ" sz="3600" b="1" dirty="0">
                <a:solidFill>
                  <a:srgbClr val="00FFB9"/>
                </a:solidFill>
                <a:latin typeface="+mj-lt"/>
              </a:rPr>
              <a:t>Wernera</a:t>
            </a:r>
            <a:br>
              <a:rPr lang="cs-CZ" sz="3600" b="1" dirty="0">
                <a:solidFill>
                  <a:srgbClr val="00FFB9"/>
                </a:solidFill>
                <a:latin typeface="+mj-lt"/>
              </a:rPr>
            </a:br>
            <a:r>
              <a:rPr lang="cs-CZ" sz="3600" b="1" dirty="0">
                <a:solidFill>
                  <a:srgbClr val="00FFB9"/>
                </a:solidFill>
                <a:latin typeface="+mj-lt"/>
              </a:rPr>
              <a:t>von </a:t>
            </a:r>
            <a:r>
              <a:rPr lang="cs-CZ" sz="3600" b="1">
                <a:solidFill>
                  <a:srgbClr val="00FFB9"/>
                </a:solidFill>
                <a:latin typeface="+mj-lt"/>
              </a:rPr>
              <a:t>Siemense 2024</a:t>
            </a:r>
            <a:endParaRPr lang="cs-CZ" sz="3600" b="1" dirty="0">
              <a:solidFill>
                <a:srgbClr val="00FFB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842666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GV7JbKU5LctGe_.hS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RTAw5Ql347qeeRnL5r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QIwiJAsUrr4L0VR2fzV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heme/theme1.xml><?xml version="1.0" encoding="utf-8"?>
<a:theme xmlns:a="http://schemas.openxmlformats.org/drawingml/2006/main" name="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9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0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2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Siemens 201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108000" tIns="54000" rIns="108000" bIns="54000" rtlCol="0">
        <a:spAutoFit/>
      </a:bodyPr>
      <a:lstStyle>
        <a:defPPr algn="l">
          <a:lnSpc>
            <a:spcPct val="110000"/>
          </a:lnSpc>
          <a:spcBef>
            <a:spcPts val="0"/>
          </a:spcBef>
          <a:defRPr sz="14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sie-ppt-O365-16x9-standard-deu-v2-3.pptx" id="{ACDA1157-4992-4250-B525-47D3F90FB964}" vid="{E4366EFA-0B9B-4538-A889-BAFDBA53918B}"/>
    </a:ext>
  </a:extLst>
</a:theme>
</file>

<file path=ppt/theme/theme15.xml><?xml version="1.0" encoding="utf-8"?>
<a:theme xmlns:a="http://schemas.openxmlformats.org/drawingml/2006/main" name="1_Siemens 201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108000" tIns="54000" rIns="108000" bIns="54000" rtlCol="0">
        <a:spAutoFit/>
      </a:bodyPr>
      <a:lstStyle>
        <a:defPPr algn="l">
          <a:lnSpc>
            <a:spcPct val="110000"/>
          </a:lnSpc>
          <a:spcBef>
            <a:spcPts val="0"/>
          </a:spcBef>
          <a:defRPr sz="14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sie-ppt-O365-16x9-standard-deu-v2-3.pptx" id="{ACDA1157-4992-4250-B525-47D3F90FB964}" vid="{E4366EFA-0B9B-4538-A889-BAFDBA53918B}"/>
    </a:ext>
  </a:extLst>
</a:theme>
</file>

<file path=ppt/theme/theme16.xml><?xml version="1.0" encoding="utf-8"?>
<a:theme xmlns:a="http://schemas.openxmlformats.org/drawingml/2006/main" name="Office Theme">
  <a:themeElements>
    <a:clrScheme name="Siemens AG">
      <a:dk1>
        <a:srgbClr val="000000"/>
      </a:dk1>
      <a:lt1>
        <a:sysClr val="window" lastClr="FFFFFF"/>
      </a:lt1>
      <a:dk2>
        <a:srgbClr val="000028"/>
      </a:dk2>
      <a:lt2>
        <a:srgbClr val="D7D7CD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3C5A"/>
      </a:accent5>
      <a:accent6>
        <a:srgbClr val="000028"/>
      </a:accent6>
      <a:hlink>
        <a:srgbClr val="AA32BE"/>
      </a:hlink>
      <a:folHlink>
        <a:srgbClr val="500078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Siemens AG">
      <a:dk1>
        <a:srgbClr val="000000"/>
      </a:dk1>
      <a:lt1>
        <a:sysClr val="window" lastClr="FFFFFF"/>
      </a:lt1>
      <a:dk2>
        <a:srgbClr val="000028"/>
      </a:dk2>
      <a:lt2>
        <a:srgbClr val="D7D7CD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3C5A"/>
      </a:accent5>
      <a:accent6>
        <a:srgbClr val="000028"/>
      </a:accent6>
      <a:hlink>
        <a:srgbClr val="AA32BE"/>
      </a:hlink>
      <a:folHlink>
        <a:srgbClr val="500078"/>
      </a:folHlink>
    </a:clrScheme>
    <a:fontScheme name="Siemens A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Black">
      <a:srgbClr val="000000"/>
    </a:custClr>
    <a:custClr name="Light Sand">
      <a:srgbClr val="F3F3F0"/>
    </a:custClr>
    <a:custClr name="Siemens Petrol">
      <a:srgbClr val="009999"/>
    </a:custClr>
    <a:custClr name="Soft Green">
      <a:srgbClr val="00D7A0"/>
    </a:custClr>
    <a:custClr name="Soft Blue">
      <a:srgbClr val="00BEDC"/>
    </a:custClr>
    <a:custClr name="Bright Blue">
      <a:srgbClr val="0087BE"/>
    </a:custClr>
    <a:custClr name="Dark Blue">
      <a:srgbClr val="00557C"/>
    </a:custClr>
    <a:custClr name="Deep Blue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Light Sand | 243 243 240">
      <a:srgbClr val="F3F3F0"/>
    </a:custClr>
    <a:custClr name="Siemens Petrol | 0 153 153">
      <a:srgbClr val="009999"/>
    </a:custClr>
    <a:custClr name="Soft Green | 0 215 160">
      <a:srgbClr val="00D7A0"/>
    </a:custClr>
    <a:custClr name="Green | 0 175 142">
      <a:srgbClr val="00AF8E"/>
    </a:custClr>
    <a:custClr name="Soft Blue | 0 190 220">
      <a:srgbClr val="00BEDC"/>
    </a:custClr>
    <a:custClr name="Blue | 0 135 190">
      <a:srgbClr val="0087BE"/>
    </a:custClr>
    <a:custClr name="Dark Blue | 0 85 124">
      <a:srgbClr val="00557C"/>
    </a:custClr>
    <a:custClr name="Deep Blue | 0 0 40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4ppTags>
  <Name>Three columns + Navigation</Name>
  <PpLayout>32</PpLayout>
  <Index>20</Index>
</p4ppTags>
</file>

<file path=customXml/item2.xml><?xml version="1.0" encoding="utf-8"?>
<p4ppTags>
  <Name>Free Content + Navigation</Name>
  <PpLayout>32</PpLayout>
  <Index>16</Index>
</p4ppTags>
</file>

<file path=customXml/item3.xml><?xml version="1.0" encoding="utf-8"?>
<p4ppTags>
  <Name>Three columns + Navigation</Name>
  <PpLayout>32</PpLayout>
  <Index>20</Index>
</p4ppTags>
</file>

<file path=customXml/itemProps1.xml><?xml version="1.0" encoding="utf-8"?>
<ds:datastoreItem xmlns:ds="http://schemas.openxmlformats.org/officeDocument/2006/customXml" ds:itemID="{41190E87-99AC-4E70-B497-64388DF1C59A}">
  <ds:schemaRefs/>
</ds:datastoreItem>
</file>

<file path=customXml/itemProps2.xml><?xml version="1.0" encoding="utf-8"?>
<ds:datastoreItem xmlns:ds="http://schemas.openxmlformats.org/officeDocument/2006/customXml" ds:itemID="{0EED0018-F037-4A1B-9635-3CB88A9C7744}">
  <ds:schemaRefs/>
</ds:datastoreItem>
</file>

<file path=customXml/itemProps3.xml><?xml version="1.0" encoding="utf-8"?>
<ds:datastoreItem xmlns:ds="http://schemas.openxmlformats.org/officeDocument/2006/customXml" ds:itemID="{839F20A8-26B9-49FA-A48B-479346E2DCC3}">
  <ds:schemaRefs/>
</ds:datastoreItem>
</file>

<file path=docMetadata/LabelInfo.xml><?xml version="1.0" encoding="utf-8"?>
<clbl:labelList xmlns:clbl="http://schemas.microsoft.com/office/2020/mipLabelMetadata">
  <clbl:label id="{a59b6cd5-d141-4a33-8bf1-0ca04484304f}" enabled="1" method="Standard" siteId="{38ae3bcd-9579-4fd4-adda-b42e1495d55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9" baseType="lpstr">
      <vt:lpstr>Arial</vt:lpstr>
      <vt:lpstr>Wingdings</vt:lpstr>
      <vt:lpstr>Siemens 2020</vt:lpstr>
      <vt:lpstr>1_Siemens 2020</vt:lpstr>
      <vt:lpstr>2_Siemens 2020</vt:lpstr>
      <vt:lpstr>3_Siemens 2020</vt:lpstr>
      <vt:lpstr>4_Siemens 2020</vt:lpstr>
      <vt:lpstr>5_Siemens 2020</vt:lpstr>
      <vt:lpstr>6_Siemens 2020</vt:lpstr>
      <vt:lpstr>7_Siemens 2020</vt:lpstr>
      <vt:lpstr>8_Siemens 2020</vt:lpstr>
      <vt:lpstr>9_Siemens 2020</vt:lpstr>
      <vt:lpstr>10_Siemens 2020</vt:lpstr>
      <vt:lpstr>11_Siemens 2020</vt:lpstr>
      <vt:lpstr>12_Siemens 2020</vt:lpstr>
      <vt:lpstr>Siemens 2019</vt:lpstr>
      <vt:lpstr>1_Siemens 2019</vt:lpstr>
      <vt:lpstr>think-cell Foli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AG PowerPoint Presentation</dc:title>
  <dc:creator>Behringer, Johannes (CM MR EC CCE)</dc:creator>
  <cp:keywords>Template</cp:keywords>
  <dc:description>Version 3.0.6
September 2020</dc:description>
  <cp:lastModifiedBy>Sedláček, Zdeněk (GBS CEE B&amp;S SOL-GMS)</cp:lastModifiedBy>
  <cp:revision>125</cp:revision>
  <dcterms:created xsi:type="dcterms:W3CDTF">2020-07-27T12:43:17Z</dcterms:created>
  <dcterms:modified xsi:type="dcterms:W3CDTF">2024-08-29T10:3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1-01-15T11:32:14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1e64a374-b707-4835-a20e-34adb934ab86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</Properties>
</file>